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5.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6.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93" r:id="rId3"/>
    <p:sldMasterId id="2147483720" r:id="rId4"/>
    <p:sldMasterId id="2147483736" r:id="rId5"/>
    <p:sldMasterId id="2147483766" r:id="rId6"/>
    <p:sldMasterId id="2147483787" r:id="rId7"/>
  </p:sldMasterIdLst>
  <p:notesMasterIdLst>
    <p:notesMasterId r:id="rId52"/>
  </p:notesMasterIdLst>
  <p:sldIdLst>
    <p:sldId id="256" r:id="rId8"/>
    <p:sldId id="261" r:id="rId9"/>
    <p:sldId id="263" r:id="rId10"/>
    <p:sldId id="264" r:id="rId11"/>
    <p:sldId id="265" r:id="rId12"/>
    <p:sldId id="266" r:id="rId13"/>
    <p:sldId id="267" r:id="rId14"/>
    <p:sldId id="268" r:id="rId15"/>
    <p:sldId id="269" r:id="rId16"/>
    <p:sldId id="270" r:id="rId17"/>
    <p:sldId id="271" r:id="rId18"/>
    <p:sldId id="272" r:id="rId19"/>
    <p:sldId id="273" r:id="rId20"/>
    <p:sldId id="275" r:id="rId21"/>
    <p:sldId id="276" r:id="rId22"/>
    <p:sldId id="277" r:id="rId23"/>
    <p:sldId id="278" r:id="rId24"/>
    <p:sldId id="279" r:id="rId25"/>
    <p:sldId id="280" r:id="rId26"/>
    <p:sldId id="281" r:id="rId27"/>
    <p:sldId id="282" r:id="rId28"/>
    <p:sldId id="283" r:id="rId29"/>
    <p:sldId id="284" r:id="rId30"/>
    <p:sldId id="285" r:id="rId31"/>
    <p:sldId id="286" r:id="rId32"/>
    <p:sldId id="287" r:id="rId33"/>
    <p:sldId id="288" r:id="rId34"/>
    <p:sldId id="289" r:id="rId35"/>
    <p:sldId id="290" r:id="rId36"/>
    <p:sldId id="291" r:id="rId37"/>
    <p:sldId id="292" r:id="rId38"/>
    <p:sldId id="293" r:id="rId39"/>
    <p:sldId id="294" r:id="rId40"/>
    <p:sldId id="295" r:id="rId41"/>
    <p:sldId id="296" r:id="rId42"/>
    <p:sldId id="297" r:id="rId43"/>
    <p:sldId id="298" r:id="rId44"/>
    <p:sldId id="299" r:id="rId45"/>
    <p:sldId id="301" r:id="rId46"/>
    <p:sldId id="302" r:id="rId47"/>
    <p:sldId id="303" r:id="rId48"/>
    <p:sldId id="304" r:id="rId49"/>
    <p:sldId id="305" r:id="rId50"/>
    <p:sldId id="262" r:id="rId51"/>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8" d="100"/>
          <a:sy n="68" d="100"/>
        </p:scale>
        <p:origin x="792"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421D7A-09EA-4553-83CD-8D1CB17C58AF}" type="datetimeFigureOut">
              <a:rPr lang="pt-PT" smtClean="0"/>
              <a:t>18/05/2017</a:t>
            </a:fld>
            <a:endParaRPr lang="pt-P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P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92A071-81D3-4AED-9141-806A10BAE4D2}" type="slidenum">
              <a:rPr lang="pt-PT" smtClean="0"/>
              <a:t>‹#›</a:t>
            </a:fld>
            <a:endParaRPr lang="pt-PT"/>
          </a:p>
        </p:txBody>
      </p:sp>
    </p:spTree>
    <p:extLst>
      <p:ext uri="{BB962C8B-B14F-4D97-AF65-F5344CB8AC3E}">
        <p14:creationId xmlns:p14="http://schemas.microsoft.com/office/powerpoint/2010/main" val="6208857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Interested</a:t>
            </a:r>
            <a:r>
              <a:rPr lang="en-AU" baseline="0" dirty="0"/>
              <a:t> in all things integration – which of course includes MS Flow</a:t>
            </a:r>
            <a:endParaRPr lang="en-AU"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45EAA6EF-DB09-4CA7-BC75-64D0E0DADFC9}" type="slidenum">
              <a:rPr kumimoji="0" lang="en-A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3</a:t>
            </a:fld>
            <a:endParaRPr kumimoji="0" lang="en-A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524551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We need tools that let us rapidly develop solutions for short term and medium engagement, with minimal impact on the budgets and talent pools dedicated to maintaining classic line of business technolog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Build 2016</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8/2017 10:0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44731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PowerApps provides a rapid application design canvas for power users and professional developers alike, joining data and mobile devices through the cloud.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Build 2016</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8/2017 10:0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56740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where you start… after you log in. </a:t>
            </a:r>
          </a:p>
          <a:p>
            <a:r>
              <a:rPr lang="en-US" dirty="0"/>
              <a:t>The site has great documentation to get started… Click on ‘Learn’</a:t>
            </a:r>
          </a:p>
          <a:p>
            <a:endParaRPr lang="en-US" dirty="0"/>
          </a:p>
          <a:p>
            <a:endParaRPr lang="pt-PT"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Header Placeholder 4"/>
          <p:cNvSpPr>
            <a:spLocks noGrp="1"/>
          </p:cNvSpPr>
          <p:nvPr>
            <p:ph type="hdr" sz="quarter" idx="11"/>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Office 365</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Footer Placeholder 5"/>
          <p:cNvSpPr>
            <a:spLocks noGrp="1"/>
          </p:cNvSpPr>
          <p:nvPr>
            <p:ph type="ftr" sz="quarter" idx="12"/>
          </p:nvPr>
        </p:nvSpPr>
        <p:spPr/>
        <p:txBody>
          <a:bodyPr/>
          <a:lstStyle/>
          <a:p>
            <a:pPr marL="238375" marR="0" lvl="0" indent="0" algn="l" defTabSz="940130"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238375" marR="0" lvl="0" indent="0" algn="l" defTabSz="940130"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5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7604677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Date Placeholder 3"/>
          <p:cNvSpPr>
            <a:spLocks noGrp="1"/>
          </p:cNvSpPr>
          <p:nvPr>
            <p:ph type="dt" idx="10"/>
          </p:nvPr>
        </p:nvSpPr>
        <p:spPr>
          <a:xfrm>
            <a:off x="4014100" y="0"/>
            <a:ext cx="3070860" cy="468630"/>
          </a:xfrm>
          <a:prstGeom prst="rect">
            <a:avLst/>
          </a:prstGeom>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fld id="{016D4FFF-EA12-4113-A505-A90247173362}" type="datetime1">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5/18/2017</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1"/>
          </p:nvPr>
        </p:nvSpPr>
        <p:spPr>
          <a:xfrm>
            <a:off x="6106286" y="8902344"/>
            <a:ext cx="978673" cy="468630"/>
          </a:xfrm>
          <a:prstGeom prst="rect">
            <a:avLst/>
          </a:prstGeom>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Header Placeholder 5"/>
          <p:cNvSpPr>
            <a:spLocks noGrp="1"/>
          </p:cNvSpPr>
          <p:nvPr>
            <p:ph type="hdr" sz="quarter" idx="12"/>
          </p:nvPr>
        </p:nvSpPr>
        <p:spPr>
          <a:xfrm>
            <a:off x="0" y="0"/>
            <a:ext cx="3070860" cy="468630"/>
          </a:xfrm>
          <a:prstGeom prst="rect">
            <a:avLst/>
          </a:prstGeom>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Microsoft Office</a:t>
            </a:r>
          </a:p>
        </p:txBody>
      </p:sp>
      <p:sp>
        <p:nvSpPr>
          <p:cNvPr id="7" name="Footer Placeholder 6"/>
          <p:cNvSpPr>
            <a:spLocks noGrp="1"/>
          </p:cNvSpPr>
          <p:nvPr>
            <p:ph type="ftr" sz="quarter" idx="13"/>
          </p:nvPr>
        </p:nvSpPr>
        <p:spPr>
          <a:xfrm>
            <a:off x="0" y="8902343"/>
            <a:ext cx="5988177" cy="375346"/>
          </a:xfrm>
          <a:prstGeom prst="rect">
            <a:avLst/>
          </a:prstGeom>
        </p:spPr>
        <p:txBody>
          <a:bodyPr/>
          <a:lstStyle/>
          <a:p>
            <a:pPr marL="238375" marR="0" lvl="0" indent="0" algn="l" defTabSz="940130"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8375" marR="0" lvl="0" indent="0" algn="l" defTabSz="940130"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527052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uman beings are actually great systems integrators today.  We constantly move information around, from our</a:t>
            </a:r>
            <a:r>
              <a:rPr lang="en-US" baseline="0" dirty="0"/>
              <a:t> phones, to our PCs, to our “data systems” that that range from a new SaaS tool, to pen and paper.  We receive an input or notification on one of our devices, and we cascade it into another routine action. </a:t>
            </a:r>
          </a:p>
          <a:p>
            <a:endParaRPr lang="en-US" baseline="0" dirty="0"/>
          </a:p>
          <a:p>
            <a:r>
              <a:rPr lang="en-US" baseline="0" dirty="0"/>
              <a:t>Some real life examples: </a:t>
            </a:r>
          </a:p>
          <a:p>
            <a:pPr marL="171450" lvl="0" indent="-171450" fontAlgn="ctr">
              <a:buFont typeface="Arial" panose="020B0604020202020204" pitchFamily="34" charset="0"/>
              <a:buChar char="•"/>
            </a:pPr>
            <a:r>
              <a:rPr lang="en-US" sz="1200" kern="1200" dirty="0">
                <a:solidFill>
                  <a:schemeClr val="tx1"/>
                </a:solidFill>
                <a:effectLst/>
                <a:latin typeface="+mn-lt"/>
                <a:ea typeface="+mn-ea"/>
                <a:cs typeface="+mn-cs"/>
              </a:rPr>
              <a:t>Our teams are constantly meeting people at events and following up over email. We want to ensure we don't miss any of these leads, but re-typing information from emails into our CRM system is tedious.</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We work with agencies who create content and upload large files to OneDrive or Dropbox accounts. Our teams want to know right when the latest files arrive, without having to check every 30 minutes, and then they want to transfer a backup to a save cloud storage</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as soon as it comes through to ensure we don’t loose any valuable work.</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I get hundreds of emails every day, and my notification options are all-or-nothing. It’s hard to keep up with all that traffic when I’m travelling. I’d like to get an SMS when specific people like my boss or a key customer prospect reach out directly to me</a:t>
            </a:r>
            <a:endParaRPr lang="en-US" baseline="0" dirty="0"/>
          </a:p>
          <a:p>
            <a:pPr marL="171450" indent="-171450">
              <a:buFont typeface="Arial" panose="020B0604020202020204" pitchFamily="34" charset="0"/>
              <a:buChar char="•"/>
            </a:pPr>
            <a:endParaRPr lang="en-US" baseline="0" dirty="0"/>
          </a:p>
          <a:p>
            <a:r>
              <a:rPr lang="en-US" b="1" baseline="0" dirty="0"/>
              <a:t>However</a:t>
            </a:r>
            <a:r>
              <a:rPr lang="en-US" baseline="0" dirty="0"/>
              <a:t>, humans aren’t especially efficient system integrators.  What if we could automate these process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ost of these system are seen as "not designed to work with each other" and integration projects between these systems will quickly become complex IT projects that take a long time to execute and require deep integration expertise.</a:t>
            </a: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r>
              <a:rPr lang="en-US" baseline="0" dirty="0"/>
              <a:t>What if we could automate routine tasks to be more efficient as a business users?</a:t>
            </a:r>
          </a:p>
          <a:p>
            <a:endParaRPr lang="en-US" baseline="0" dirty="0"/>
          </a:p>
          <a:p>
            <a:r>
              <a:rPr lang="en-US" baseline="0" dirty="0"/>
              <a:t>What if we could enable new uses and accomplish things we can’t currently do today by relying on powerful process automation that does not require length IT projects?</a:t>
            </a:r>
          </a:p>
          <a:p>
            <a:endParaRPr lang="en-US" baseline="0" dirty="0"/>
          </a:p>
          <a:p>
            <a:endParaRPr lang="en-US" dirty="0"/>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97030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uman beings are actually great systems integrators today.  We constantly move information around, from our</a:t>
            </a:r>
            <a:r>
              <a:rPr lang="en-US" baseline="0" dirty="0"/>
              <a:t> phones, to our PCs, to our “data systems” that that range from a new SaaS tool, to pen and paper.  We receive an input or notification on one of our devices, and we cascade it into another routine action. </a:t>
            </a:r>
          </a:p>
          <a:p>
            <a:endParaRPr lang="en-US" baseline="0" dirty="0"/>
          </a:p>
          <a:p>
            <a:r>
              <a:rPr lang="en-US" baseline="0" dirty="0"/>
              <a:t>Some real life examples: </a:t>
            </a:r>
          </a:p>
          <a:p>
            <a:pPr marL="171450" lvl="0" indent="-171450" fontAlgn="ctr">
              <a:buFont typeface="Arial" panose="020B0604020202020204" pitchFamily="34" charset="0"/>
              <a:buChar char="•"/>
            </a:pPr>
            <a:r>
              <a:rPr lang="en-US" sz="1200" kern="1200" dirty="0">
                <a:solidFill>
                  <a:schemeClr val="tx1"/>
                </a:solidFill>
                <a:effectLst/>
                <a:latin typeface="+mn-lt"/>
                <a:ea typeface="+mn-ea"/>
                <a:cs typeface="+mn-cs"/>
              </a:rPr>
              <a:t>Our teams are constantly meeting people at events and following up over email. We want to ensure we don't miss any of these leads, but re-typing information from emails into our CRM system is tedious.</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We work with agencies who create content and upload large files to OneDrive or Dropbox accounts. Our teams want to know right when the latest files arrive, without having to check every 30 minutes, and then they want to transfer a backup to a save cloud storage</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as soon as it comes through to ensure we don’t loose any valuable work.</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I get hundreds of emails every day, and my notification options are all-or-nothing. It’s hard to keep up with all that traffic when I’m travelling. I’d like to get an SMS when specific people like my boss or a key customer prospect reach out directly to me</a:t>
            </a:r>
            <a:endParaRPr lang="en-US" baseline="0" dirty="0"/>
          </a:p>
          <a:p>
            <a:pPr marL="171450" indent="-171450">
              <a:buFont typeface="Arial" panose="020B0604020202020204" pitchFamily="34" charset="0"/>
              <a:buChar char="•"/>
            </a:pPr>
            <a:endParaRPr lang="en-US" baseline="0" dirty="0"/>
          </a:p>
          <a:p>
            <a:r>
              <a:rPr lang="en-US" b="1" baseline="0" dirty="0"/>
              <a:t>However</a:t>
            </a:r>
            <a:r>
              <a:rPr lang="en-US" baseline="0" dirty="0"/>
              <a:t>, humans aren’t especially efficient system integrators.  What if we could automate these process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ost of these system are seen as "not designed to work with each other" and integration projects between these systems will quickly become complex IT projects that take a long time to execute and require deep integration expertise.</a:t>
            </a: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r>
              <a:rPr lang="en-US" baseline="0" dirty="0"/>
              <a:t>What if we could automate routine tasks to be more efficient as a business users?</a:t>
            </a:r>
          </a:p>
          <a:p>
            <a:endParaRPr lang="en-US" baseline="0" dirty="0"/>
          </a:p>
          <a:p>
            <a:r>
              <a:rPr lang="en-US" baseline="0" dirty="0"/>
              <a:t>What if we could enable new uses and accomplish things we can’t currently do today by relying on powerful process automation that does not require length IT projects?</a:t>
            </a:r>
          </a:p>
          <a:p>
            <a:endParaRPr lang="en-US" baseline="0" dirty="0"/>
          </a:p>
          <a:p>
            <a:endParaRPr lang="en-US" dirty="0"/>
          </a:p>
          <a:p>
            <a:endParaRPr lang="en-US" baseline="0"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75678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Light" panose="020B0502040204020203" pitchFamily="34" charset="0"/>
                <a:cs typeface="Segoe UI Light" panose="020B0502040204020203" pitchFamily="34" charset="0"/>
              </a:rPr>
              <a:t>Microsoft Flow is a SaaS service that helps business</a:t>
            </a:r>
            <a:r>
              <a:rPr lang="en-US" sz="1200" baseline="0" dirty="0">
                <a:latin typeface="Segoe UI Light" panose="020B0502040204020203" pitchFamily="34" charset="0"/>
                <a:cs typeface="Segoe UI Light" panose="020B0502040204020203" pitchFamily="34" charset="0"/>
              </a:rPr>
              <a:t> users </a:t>
            </a:r>
            <a:r>
              <a:rPr lang="en-US" sz="1200" b="1" dirty="0">
                <a:latin typeface="Segoe UI Light" panose="020B0502040204020203" pitchFamily="34" charset="0"/>
                <a:cs typeface="Segoe UI Light" panose="020B0502040204020203" pitchFamily="34" charset="0"/>
              </a:rPr>
              <a:t>work smarter </a:t>
            </a:r>
            <a:r>
              <a:rPr lang="en-US" sz="1200" dirty="0">
                <a:latin typeface="Segoe UI Light" panose="020B0502040204020203" pitchFamily="34" charset="0"/>
                <a:cs typeface="Segoe UI Light" panose="020B0502040204020203" pitchFamily="34" charset="0"/>
              </a:rPr>
              <a:t>by automating workflow across a growing number</a:t>
            </a:r>
            <a:r>
              <a:rPr lang="en-US" sz="1200" baseline="0" dirty="0">
                <a:latin typeface="Segoe UI Light" panose="020B0502040204020203" pitchFamily="34" charset="0"/>
                <a:cs typeface="Segoe UI Light" panose="020B0502040204020203" pitchFamily="34" charset="0"/>
              </a:rPr>
              <a:t> </a:t>
            </a:r>
            <a:r>
              <a:rPr lang="en-US" sz="1200" dirty="0">
                <a:latin typeface="Segoe UI Light" panose="020B0502040204020203" pitchFamily="34" charset="0"/>
                <a:cs typeface="Segoe UI Light" panose="020B0502040204020203" pitchFamily="34" charset="0"/>
              </a:rPr>
              <a:t>apps &amp;</a:t>
            </a:r>
            <a:r>
              <a:rPr lang="en-US" sz="1200" baseline="0" dirty="0">
                <a:latin typeface="Segoe UI Light" panose="020B0502040204020203" pitchFamily="34" charset="0"/>
                <a:cs typeface="Segoe UI Light" panose="020B0502040204020203" pitchFamily="34" charset="0"/>
              </a:rPr>
              <a:t> </a:t>
            </a:r>
            <a:r>
              <a:rPr lang="en-US" sz="1200" dirty="0">
                <a:latin typeface="Segoe UI Light" panose="020B0502040204020203" pitchFamily="34" charset="0"/>
                <a:cs typeface="Segoe UI Light" panose="020B0502040204020203" pitchFamily="34" charset="0"/>
              </a:rPr>
              <a:t>services</a:t>
            </a:r>
            <a:r>
              <a:rPr lang="en-US" sz="1200" baseline="0" dirty="0">
                <a:latin typeface="Segoe UI Light" panose="020B0502040204020203" pitchFamily="34" charset="0"/>
                <a:cs typeface="Segoe UI Light" panose="020B0502040204020203" pitchFamily="34" charset="0"/>
              </a:rPr>
              <a:t> that they rely on</a:t>
            </a:r>
            <a:r>
              <a:rPr lang="en-US" sz="1200" dirty="0">
                <a:latin typeface="Segoe UI Light" panose="020B0502040204020203" pitchFamily="34" charset="0"/>
                <a:cs typeface="Segoe UI Light" panose="020B0502040204020203" pitchFamily="34" charset="0"/>
              </a:rPr>
              <a:t>.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possible workflows span across a wide variety of possibilities, for example :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Get a notifications when a certain file is updated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Synchronize files by connecting your folders to keep data current,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Automatically collect and organize your business data</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Streamline approvals and get instant alerts.</a:t>
            </a:r>
          </a:p>
          <a:p>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icrosoft Flow makes it possible to automate all of these scenarios and more. </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95665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eate</a:t>
            </a:r>
            <a:r>
              <a:rPr lang="en-US" baseline="0" dirty="0"/>
              <a:t> more advanced integration scenarios with multiple steps, adding conditions between steps and the every expanding list of more advanced enterprise connector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61253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a:t>Get a whole bunch of connectors OOTB to common SaaS Services, from O365 (Outlook, OneDrive) to collaborative </a:t>
            </a:r>
            <a:r>
              <a:rPr lang="en-US" baseline="0" dirty="0" err="1"/>
              <a:t>svcs</a:t>
            </a:r>
            <a:r>
              <a:rPr lang="en-US" baseline="0" dirty="0"/>
              <a:t> (Slack) to CRM </a:t>
            </a:r>
            <a:r>
              <a:rPr lang="en-US" baseline="0" dirty="0" err="1"/>
              <a:t>svcs</a:t>
            </a:r>
            <a:r>
              <a:rPr lang="en-US" baseline="0" dirty="0"/>
              <a:t> (Salesforce, Dynamics CRM)</a:t>
            </a:r>
          </a:p>
          <a:p>
            <a:pPr marL="171450" indent="-171450">
              <a:buFontTx/>
              <a:buChar char="-"/>
            </a:pPr>
            <a:r>
              <a:rPr lang="en-US" baseline="0" dirty="0"/>
              <a:t>Can support connections to custom APIs (Swagger end point definition)</a:t>
            </a:r>
            <a:endParaRPr lang="en-US" dirty="0"/>
          </a:p>
          <a:p>
            <a:pPr marL="171450" indent="-171450">
              <a:buFontTx/>
              <a:buChar char="-"/>
            </a:pPr>
            <a:r>
              <a:rPr lang="en-US" baseline="0" dirty="0"/>
              <a:t>URL for full list of connecto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89067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icrosoft Flow makes it possible to automate all of these scenarios and more. </a:t>
            </a:r>
          </a:p>
          <a:p>
            <a:pPr marL="0" marR="0" lvl="0" indent="0" algn="l" defTabSz="914363" rtl="0" eaLnBrk="1" fontAlgn="auto" latinLnBrk="0" hangingPunct="1">
              <a:lnSpc>
                <a:spcPct val="90000"/>
              </a:lnSpc>
              <a:spcBef>
                <a:spcPts val="0"/>
              </a:spcBef>
              <a:spcAft>
                <a:spcPts val="333"/>
              </a:spcAft>
              <a:buClrTx/>
              <a:buSzTx/>
              <a:buFontTx/>
              <a:buNone/>
              <a:tabLst/>
              <a:defRPr/>
            </a:pPr>
            <a:r>
              <a:rPr lang="en-AU" sz="1200" dirty="0"/>
              <a:t>No code, no</a:t>
            </a:r>
            <a:r>
              <a:rPr lang="en-AU" sz="1200" baseline="0" dirty="0"/>
              <a:t> workflow – configure the connectors</a:t>
            </a:r>
            <a:endParaRPr lang="en-US" sz="1200" kern="1200" dirty="0">
              <a:solidFill>
                <a:schemeClr val="tx1"/>
              </a:solidFill>
              <a:effectLst/>
              <a:latin typeface="+mn-lt"/>
              <a:ea typeface="+mn-ea"/>
              <a:cs typeface="+mn-cs"/>
            </a:endParaRPr>
          </a:p>
          <a:p>
            <a:pPr marL="171450" indent="-171450">
              <a:buFontTx/>
              <a:buChar char="-"/>
            </a:pPr>
            <a:r>
              <a:rPr lang="en-US" dirty="0"/>
              <a:t>Go</a:t>
            </a:r>
            <a:r>
              <a:rPr lang="en-US" baseline="0" dirty="0"/>
              <a:t> to landing page and choose or search for a template</a:t>
            </a:r>
          </a:p>
          <a:p>
            <a:pPr marL="171450" indent="-171450">
              <a:buFontTx/>
              <a:buChar char="-"/>
            </a:pPr>
            <a:r>
              <a:rPr lang="en-US" baseline="0" dirty="0"/>
              <a:t>Sign in</a:t>
            </a:r>
          </a:p>
          <a:p>
            <a:pPr marL="171450" indent="-171450">
              <a:buFontTx/>
              <a:buChar char="-"/>
            </a:pPr>
            <a:r>
              <a:rPr lang="en-US" dirty="0"/>
              <a:t>Configure</a:t>
            </a:r>
            <a:r>
              <a:rPr lang="en-US" baseline="0" dirty="0"/>
              <a:t> the connectors in the templat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63867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baseline="0" dirty="0"/>
          </a:p>
          <a:p>
            <a:pPr marL="171450" indent="-171450">
              <a:buFontTx/>
              <a:buChar char="-"/>
            </a:pPr>
            <a:endParaRPr lang="en-U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82359"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403D1AC-AE9D-48D5-8B67-D59D21AF1D3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8/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95698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Segoe UI Light" panose="020B0502040204020203" pitchFamily="34" charset="0"/>
                <a:ea typeface="+mn-ea"/>
                <a:cs typeface="Segoe UI Light" panose="020B0502040204020203" pitchFamily="34" charset="0"/>
              </a:rPr>
              <a:t>User over 100+ templates (and growing)</a:t>
            </a:r>
            <a:r>
              <a:rPr lang="en-US" sz="1200" kern="1200" baseline="0" dirty="0">
                <a:solidFill>
                  <a:schemeClr val="tx1"/>
                </a:solidFill>
                <a:latin typeface="Segoe UI Light" panose="020B0502040204020203" pitchFamily="34" charset="0"/>
                <a:ea typeface="+mn-ea"/>
                <a:cs typeface="Segoe UI Light" panose="020B0502040204020203" pitchFamily="34" charset="0"/>
              </a:rPr>
              <a:t> </a:t>
            </a:r>
            <a:r>
              <a:rPr lang="en-US" sz="1200" kern="1200" dirty="0">
                <a:solidFill>
                  <a:schemeClr val="tx1"/>
                </a:solidFill>
                <a:latin typeface="Segoe UI Light" panose="020B0502040204020203" pitchFamily="34" charset="0"/>
                <a:ea typeface="+mn-ea"/>
                <a:cs typeface="Segoe UI Light" panose="020B0502040204020203" pitchFamily="34" charset="0"/>
              </a:rPr>
              <a:t>for common scenarios as a starting point to create your new workflow!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38891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Light" panose="020B0502040204020203" pitchFamily="34" charset="0"/>
                <a:cs typeface="Segoe UI Light" panose="020B0502040204020203" pitchFamily="34" charset="0"/>
              </a:rPr>
              <a:t>Microsoft Flow is a SaaS service that helps business</a:t>
            </a:r>
            <a:r>
              <a:rPr lang="en-US" sz="1200" baseline="0" dirty="0">
                <a:latin typeface="Segoe UI Light" panose="020B0502040204020203" pitchFamily="34" charset="0"/>
                <a:cs typeface="Segoe UI Light" panose="020B0502040204020203" pitchFamily="34" charset="0"/>
              </a:rPr>
              <a:t> users </a:t>
            </a:r>
            <a:r>
              <a:rPr lang="en-US" sz="1200" b="1" dirty="0">
                <a:latin typeface="Segoe UI Light" panose="020B0502040204020203" pitchFamily="34" charset="0"/>
                <a:cs typeface="Segoe UI Light" panose="020B0502040204020203" pitchFamily="34" charset="0"/>
              </a:rPr>
              <a:t>work smarter </a:t>
            </a:r>
            <a:r>
              <a:rPr lang="en-US" sz="1200" dirty="0">
                <a:latin typeface="Segoe UI Light" panose="020B0502040204020203" pitchFamily="34" charset="0"/>
                <a:cs typeface="Segoe UI Light" panose="020B0502040204020203" pitchFamily="34" charset="0"/>
              </a:rPr>
              <a:t>by automating workflow across a growing number</a:t>
            </a:r>
            <a:r>
              <a:rPr lang="en-US" sz="1200" baseline="0" dirty="0">
                <a:latin typeface="Segoe UI Light" panose="020B0502040204020203" pitchFamily="34" charset="0"/>
                <a:cs typeface="Segoe UI Light" panose="020B0502040204020203" pitchFamily="34" charset="0"/>
              </a:rPr>
              <a:t> </a:t>
            </a:r>
            <a:r>
              <a:rPr lang="en-US" sz="1200" dirty="0">
                <a:latin typeface="Segoe UI Light" panose="020B0502040204020203" pitchFamily="34" charset="0"/>
                <a:cs typeface="Segoe UI Light" panose="020B0502040204020203" pitchFamily="34" charset="0"/>
              </a:rPr>
              <a:t>apps &amp;</a:t>
            </a:r>
            <a:r>
              <a:rPr lang="en-US" sz="1200" baseline="0" dirty="0">
                <a:latin typeface="Segoe UI Light" panose="020B0502040204020203" pitchFamily="34" charset="0"/>
                <a:cs typeface="Segoe UI Light" panose="020B0502040204020203" pitchFamily="34" charset="0"/>
              </a:rPr>
              <a:t> </a:t>
            </a:r>
            <a:r>
              <a:rPr lang="en-US" sz="1200" dirty="0">
                <a:latin typeface="Segoe UI Light" panose="020B0502040204020203" pitchFamily="34" charset="0"/>
                <a:cs typeface="Segoe UI Light" panose="020B0502040204020203" pitchFamily="34" charset="0"/>
              </a:rPr>
              <a:t>services</a:t>
            </a:r>
            <a:r>
              <a:rPr lang="en-US" sz="1200" baseline="0" dirty="0">
                <a:latin typeface="Segoe UI Light" panose="020B0502040204020203" pitchFamily="34" charset="0"/>
                <a:cs typeface="Segoe UI Light" panose="020B0502040204020203" pitchFamily="34" charset="0"/>
              </a:rPr>
              <a:t> that they rely on</a:t>
            </a:r>
            <a:r>
              <a:rPr lang="en-US" sz="1200" dirty="0">
                <a:latin typeface="Segoe UI Light" panose="020B0502040204020203" pitchFamily="34" charset="0"/>
                <a:cs typeface="Segoe UI Light" panose="020B0502040204020203" pitchFamily="34" charset="0"/>
              </a:rPr>
              <a:t>.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possible workflows span across a wide variety of possibilities, for example :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Get a notifications when a certain file is updated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Synchronize files by connecting your folders to keep data current,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Automatically collect and organize your business data</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Streamline approvals and get instant alerts.</a:t>
            </a:r>
          </a:p>
          <a:p>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icrosoft Flow makes it possible to automate all of these scenarios and more. </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05665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In addition to utilizing</a:t>
            </a:r>
            <a:r>
              <a:rPr lang="en-US" sz="1200" baseline="0" dirty="0"/>
              <a:t> Templates, e</a:t>
            </a:r>
            <a:r>
              <a:rPr lang="en-US" sz="1200" dirty="0"/>
              <a:t>nd-users can easily build their own Flows or customize</a:t>
            </a:r>
            <a:r>
              <a:rPr lang="en-US" sz="1200" baseline="0" dirty="0"/>
              <a:t> any of the available templates </a:t>
            </a:r>
            <a:r>
              <a:rPr lang="en-US" sz="1200" dirty="0"/>
              <a:t>through an easy to use visual designer.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42322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27224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56802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AU" sz="1200" dirty="0"/>
              <a:t>Can’t think of a single organisation that does NOT</a:t>
            </a:r>
            <a:r>
              <a:rPr lang="en-AU" sz="1200" baseline="0" dirty="0"/>
              <a:t> have a need for integration</a:t>
            </a:r>
          </a:p>
          <a:p>
            <a:pPr marL="171450" indent="-171450">
              <a:buFontTx/>
              <a:buChar char="-"/>
            </a:pPr>
            <a:r>
              <a:rPr lang="en-AU" sz="1200" baseline="0" dirty="0"/>
              <a:t>Integration is a specialised skill</a:t>
            </a:r>
          </a:p>
          <a:p>
            <a:pPr marL="171450" indent="-171450">
              <a:buFontTx/>
              <a:buChar char="-"/>
            </a:pPr>
            <a:r>
              <a:rPr lang="en-AU" sz="1200" baseline="0" dirty="0"/>
              <a:t>Some integration needs are very simple and/or very common</a:t>
            </a:r>
            <a:endParaRPr lang="en-AU" sz="1200" dirty="0"/>
          </a:p>
          <a:p>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55407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AU" sz="1200" dirty="0"/>
              <a:t>Can’t think of a single organisation that does NOT</a:t>
            </a:r>
            <a:r>
              <a:rPr lang="en-AU" sz="1200" baseline="0" dirty="0"/>
              <a:t> have a need for integration</a:t>
            </a:r>
          </a:p>
          <a:p>
            <a:pPr marL="171450" indent="-171450">
              <a:buFontTx/>
              <a:buChar char="-"/>
            </a:pPr>
            <a:r>
              <a:rPr lang="en-AU" sz="1200" baseline="0" dirty="0"/>
              <a:t>Integration is a specialised skill</a:t>
            </a:r>
          </a:p>
          <a:p>
            <a:pPr marL="171450" indent="-171450">
              <a:buFontTx/>
              <a:buChar char="-"/>
            </a:pPr>
            <a:r>
              <a:rPr lang="en-AU" sz="1200" baseline="0" dirty="0"/>
              <a:t>Some integration needs are very simple and/or very common</a:t>
            </a:r>
            <a:endParaRPr lang="en-AU" sz="1200" dirty="0"/>
          </a:p>
          <a:p>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22131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EAA6EF-DB09-4CA7-BC75-64D0E0DADFC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54735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AU" sz="1200" dirty="0"/>
              <a:t>Can’t think of a single organisation that does NOT</a:t>
            </a:r>
            <a:r>
              <a:rPr lang="en-AU" sz="1200" baseline="0" dirty="0"/>
              <a:t> have a need for integration</a:t>
            </a:r>
          </a:p>
          <a:p>
            <a:pPr marL="171450" indent="-171450">
              <a:buFontTx/>
              <a:buChar char="-"/>
            </a:pPr>
            <a:r>
              <a:rPr lang="en-AU" sz="1200" baseline="0" dirty="0"/>
              <a:t>Integration is a specialised skill</a:t>
            </a:r>
          </a:p>
          <a:p>
            <a:pPr marL="171450" indent="-171450">
              <a:buFontTx/>
              <a:buChar char="-"/>
            </a:pPr>
            <a:r>
              <a:rPr lang="en-AU" sz="1200" baseline="0" dirty="0"/>
              <a:t>Some integration needs are very simple and/or very common</a:t>
            </a:r>
            <a:endParaRPr lang="en-AU" sz="1200" dirty="0"/>
          </a:p>
          <a:p>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67057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AU" sz="1200" dirty="0"/>
              <a:t>Can’t think of a single organisation that does NOT</a:t>
            </a:r>
            <a:r>
              <a:rPr lang="en-AU" sz="1200" baseline="0" dirty="0"/>
              <a:t> have a need for integration</a:t>
            </a:r>
          </a:p>
          <a:p>
            <a:pPr marL="171450" indent="-171450">
              <a:buFontTx/>
              <a:buChar char="-"/>
            </a:pPr>
            <a:r>
              <a:rPr lang="en-AU" sz="1200" baseline="0" dirty="0"/>
              <a:t>Integration is a specialised skill</a:t>
            </a:r>
          </a:p>
          <a:p>
            <a:pPr marL="171450" indent="-171450">
              <a:buFontTx/>
              <a:buChar char="-"/>
            </a:pPr>
            <a:r>
              <a:rPr lang="en-AU" sz="1200" baseline="0" dirty="0"/>
              <a:t>Some integration needs are very simple and/or very common</a:t>
            </a:r>
            <a:endParaRPr lang="en-AU" sz="1200" dirty="0"/>
          </a:p>
          <a:p>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55846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Tx/>
              <a:buNone/>
              <a:tabLst/>
              <a:defRPr/>
            </a:pPr>
            <a:r>
              <a:rPr lang="en-US" sz="900" dirty="0">
                <a:solidFill>
                  <a:srgbClr val="FFFFFF"/>
                </a:solidFill>
                <a:ea typeface="Calibri" panose="020F0502020204030204" pitchFamily="34" charset="0"/>
                <a:cs typeface="Times New Roman" panose="02020603050405020304" pitchFamily="18" charset="0"/>
              </a:rPr>
              <a:t>Create mobile business apps with clicks, ‘not code’</a:t>
            </a:r>
            <a:endParaRPr lang="en-US" sz="900" dirty="0">
              <a:solidFill>
                <a:srgbClr val="FFFFFF"/>
              </a:solidFill>
              <a:latin typeface="Segoe UI Light"/>
              <a:ea typeface="Calibri" panose="020F0502020204030204" pitchFamily="34" charset="0"/>
              <a:cs typeface="Times New Roman" panose="02020603050405020304" pitchFamily="18" charset="0"/>
            </a:endParaRPr>
          </a:p>
          <a:p>
            <a:pPr marL="0" marR="0" lvl="0" indent="0" algn="l" defTabSz="914363" rtl="0" eaLnBrk="1" fontAlgn="auto" latinLnBrk="0" hangingPunct="1">
              <a:lnSpc>
                <a:spcPct val="90000"/>
              </a:lnSpc>
              <a:spcBef>
                <a:spcPts val="0"/>
              </a:spcBef>
              <a:spcAft>
                <a:spcPts val="333"/>
              </a:spcAft>
              <a:buClrTx/>
              <a:buSzTx/>
              <a:buFontTx/>
              <a:buNone/>
              <a:tabLst/>
              <a:defRPr/>
            </a:pPr>
            <a:endParaRPr lang="en-US" sz="900" dirty="0">
              <a:solidFill>
                <a:srgbClr val="FFFFFF"/>
              </a:solidFill>
              <a:ea typeface="Calibri" panose="020F0502020204030204" pitchFamily="34" charset="0"/>
              <a:cs typeface="Times New Roman" panose="02020603050405020304" pitchFamily="18" charset="0"/>
            </a:endParaRPr>
          </a:p>
          <a:p>
            <a:pPr marL="0" marR="0" lvl="0" indent="0" algn="l" defTabSz="914363" rtl="0" eaLnBrk="1" fontAlgn="auto" latinLnBrk="0" hangingPunct="1">
              <a:lnSpc>
                <a:spcPct val="90000"/>
              </a:lnSpc>
              <a:spcBef>
                <a:spcPts val="0"/>
              </a:spcBef>
              <a:spcAft>
                <a:spcPts val="333"/>
              </a:spcAft>
              <a:buClrTx/>
              <a:buSzTx/>
              <a:buFontTx/>
              <a:buNone/>
              <a:tabLst/>
              <a:defRPr/>
            </a:pPr>
            <a:r>
              <a:rPr lang="en-US" sz="900" dirty="0">
                <a:solidFill>
                  <a:srgbClr val="FFFFFF"/>
                </a:solidFill>
                <a:ea typeface="Calibri" panose="020F0502020204030204" pitchFamily="34" charset="0"/>
                <a:cs typeface="Times New Roman" panose="02020603050405020304" pitchFamily="18" charset="0"/>
              </a:rPr>
              <a:t>App Services, Service Fabric, Azure Functions, Logic Apps, API Management, BizTalk…Turn your data into apps</a:t>
            </a:r>
          </a:p>
          <a:p>
            <a:endParaRPr lang="pt-PT"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Header Placeholder 4"/>
          <p:cNvSpPr>
            <a:spLocks noGrp="1"/>
          </p:cNvSpPr>
          <p:nvPr>
            <p:ph type="hdr" sz="quarter" idx="11"/>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Office 365</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Footer Placeholder 5"/>
          <p:cNvSpPr>
            <a:spLocks noGrp="1"/>
          </p:cNvSpPr>
          <p:nvPr>
            <p:ph type="ftr" sz="quarter" idx="12"/>
          </p:nvPr>
        </p:nvSpPr>
        <p:spPr/>
        <p:txBody>
          <a:bodyPr/>
          <a:lstStyle/>
          <a:p>
            <a:pPr marL="238375" marR="0" lvl="0" indent="0" algn="l" defTabSz="940130"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238375" marR="0" lvl="0" indent="0" algn="l" defTabSz="940130"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5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4950294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AU" sz="1200" dirty="0"/>
              <a:t>Can’t think of a single organisation that does NOT</a:t>
            </a:r>
            <a:r>
              <a:rPr lang="en-AU" sz="1200" baseline="0" dirty="0"/>
              <a:t> have a need for integration</a:t>
            </a:r>
          </a:p>
          <a:p>
            <a:pPr marL="171450" indent="-171450">
              <a:buFontTx/>
              <a:buChar char="-"/>
            </a:pPr>
            <a:r>
              <a:rPr lang="en-AU" sz="1200" baseline="0" dirty="0"/>
              <a:t>Integration is a specialised skill</a:t>
            </a:r>
          </a:p>
          <a:p>
            <a:pPr marL="171450" indent="-171450">
              <a:buFontTx/>
              <a:buChar char="-"/>
            </a:pPr>
            <a:r>
              <a:rPr lang="en-AU" sz="1200" baseline="0" dirty="0"/>
              <a:t>Some integration needs are very simple and/or very common</a:t>
            </a:r>
            <a:endParaRPr lang="en-AU" sz="1200" dirty="0"/>
          </a:p>
          <a:p>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43550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AU" sz="1200" dirty="0"/>
              <a:t>Can’t think of a single organisation that does NOT</a:t>
            </a:r>
            <a:r>
              <a:rPr lang="en-AU" sz="1200" baseline="0" dirty="0"/>
              <a:t> have a need for integration</a:t>
            </a:r>
          </a:p>
          <a:p>
            <a:pPr marL="171450" indent="-171450">
              <a:buFontTx/>
              <a:buChar char="-"/>
            </a:pPr>
            <a:r>
              <a:rPr lang="en-AU" sz="1200" baseline="0" dirty="0"/>
              <a:t>Integration is a specialised skill</a:t>
            </a:r>
          </a:p>
          <a:p>
            <a:pPr marL="171450" indent="-171450">
              <a:buFontTx/>
              <a:buChar char="-"/>
            </a:pPr>
            <a:r>
              <a:rPr lang="en-AU" sz="1200" baseline="0" dirty="0"/>
              <a:t>Some integration needs are very simple and/or very common</a:t>
            </a:r>
            <a:endParaRPr lang="en-AU" sz="1200" dirty="0"/>
          </a:p>
          <a:p>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84537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fld id="{B758A610-1E6A-4304-BC05-570DCBF01AA5}" type="datetime1">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5/18/2017</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652757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8/20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12775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Date Placeholder 3"/>
          <p:cNvSpPr>
            <a:spLocks noGrp="1"/>
          </p:cNvSpPr>
          <p:nvPr>
            <p:ph type="dt" idx="10"/>
          </p:nvPr>
        </p:nvSpPr>
        <p:spPr>
          <a:xfrm>
            <a:off x="4014100" y="0"/>
            <a:ext cx="3070860" cy="468630"/>
          </a:xfrm>
          <a:prstGeom prst="rect">
            <a:avLst/>
          </a:prstGeom>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fld id="{016D4FFF-EA12-4113-A505-A90247173362}" type="datetime1">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5/18/2017</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1"/>
          </p:nvPr>
        </p:nvSpPr>
        <p:spPr>
          <a:xfrm>
            <a:off x="6106286" y="8902344"/>
            <a:ext cx="978673" cy="468630"/>
          </a:xfrm>
          <a:prstGeom prst="rect">
            <a:avLst/>
          </a:prstGeom>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Header Placeholder 5"/>
          <p:cNvSpPr>
            <a:spLocks noGrp="1"/>
          </p:cNvSpPr>
          <p:nvPr>
            <p:ph type="hdr" sz="quarter" idx="12"/>
          </p:nvPr>
        </p:nvSpPr>
        <p:spPr>
          <a:xfrm>
            <a:off x="0" y="0"/>
            <a:ext cx="3070860" cy="468630"/>
          </a:xfrm>
          <a:prstGeom prst="rect">
            <a:avLst/>
          </a:prstGeom>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Microsoft Office</a:t>
            </a:r>
          </a:p>
        </p:txBody>
      </p:sp>
      <p:sp>
        <p:nvSpPr>
          <p:cNvPr id="7" name="Footer Placeholder 6"/>
          <p:cNvSpPr>
            <a:spLocks noGrp="1"/>
          </p:cNvSpPr>
          <p:nvPr>
            <p:ph type="ftr" sz="quarter" idx="13"/>
          </p:nvPr>
        </p:nvSpPr>
        <p:spPr>
          <a:xfrm>
            <a:off x="0" y="8902343"/>
            <a:ext cx="5988177" cy="375346"/>
          </a:xfrm>
          <a:prstGeom prst="rect">
            <a:avLst/>
          </a:prstGeom>
        </p:spPr>
        <p:txBody>
          <a:bodyPr/>
          <a:lstStyle/>
          <a:p>
            <a:pPr marL="238375" marR="0" lvl="0" indent="0" algn="l" defTabSz="940130"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8375" marR="0" lvl="0" indent="0" algn="l" defTabSz="940130"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2602460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We’ve come to expect innovation from all the apps we run on our personal devices.  Thousands, and thousands of apps.</a:t>
            </a:r>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18/20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73833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But the business world hasn’t kept pace.</a:t>
            </a:r>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18/20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02138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There are many reasons.  Data complexity.  Talent and training.  But fundamentally, the biggest problem is the lack of IT budget dedicated to anything but keeping up with line of business system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t>
            </a:r>
            <a:endParaRPr lang="en-US" dirty="0"/>
          </a:p>
          <a:p>
            <a:endParaRPr lang="en-US" dirty="0"/>
          </a:p>
          <a:p>
            <a:r>
              <a:rPr lang="en-US" dirty="0"/>
              <a:t>The Mobility of the Experience -- physically – with 37% of us working from three or more locations.</a:t>
            </a:r>
          </a:p>
          <a:p>
            <a:r>
              <a:rPr lang="en-US" dirty="0"/>
              <a:t> </a:t>
            </a:r>
          </a:p>
          <a:p>
            <a:r>
              <a:rPr lang="en-US" dirty="0"/>
              <a:t>But also the Mobility of the experience across devices – with about ½ of us using three or more devices for work.</a:t>
            </a:r>
          </a:p>
          <a:p>
            <a:r>
              <a:rPr lang="en-US" dirty="0"/>
              <a:t> </a:t>
            </a:r>
          </a:p>
          <a:p>
            <a:r>
              <a:rPr lang="en-US" dirty="0"/>
              <a:t>And finally -- our experiences are naturally moving across Apps too -- 82% of information workers use seven or more apps for work.</a:t>
            </a:r>
          </a:p>
          <a:p>
            <a:r>
              <a:rPr lang="en-US" dirty="0"/>
              <a:t> </a:t>
            </a:r>
          </a:p>
          <a:p>
            <a:r>
              <a:rPr lang="en-US" dirty="0"/>
              <a:t>And as the experience moves – so does the data . . .</a:t>
            </a:r>
          </a:p>
          <a:p>
            <a:r>
              <a:rPr lang="en-US" dirty="0"/>
              <a:t>“Organizational Blind Spot: The Role of Document-Driven Business Processes in Driving Top-Line Growth,” IDC White Paper sponsored by Ricoh, September 2012</a:t>
            </a:r>
          </a:p>
          <a:p>
            <a:r>
              <a:rPr lang="en-US" dirty="0"/>
              <a:t>*“Reducing Effort for Banks and Their Customers through Digital Signatures,” CEB TowerGroup, February 2014</a:t>
            </a:r>
          </a:p>
          <a:p>
            <a:r>
              <a:rPr lang="en-US" dirty="0"/>
              <a:t>**The Cost of Too Much Information: Government Workers Lose Productivity Due to Information Overload, IDC Govt’ Insights, 2012</a:t>
            </a:r>
          </a:p>
          <a:p>
            <a:r>
              <a:rPr lang="en-US" dirty="0"/>
              <a:t>***</a:t>
            </a:r>
          </a:p>
          <a:p>
            <a:endParaRPr lang="en-US" dirty="0"/>
          </a:p>
          <a:p>
            <a:endParaRPr lang="en-US" dirty="0"/>
          </a:p>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18/20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75069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Systems that run for decades are critical.   But application lifecycles need not be measured in years.  Essential business processes sometimes happen in minutes, or days. And we need tools to help us keep up.</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Build 2016</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8/2017 10:12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31269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8.emf"/><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3.png"/></Relationships>
</file>

<file path=ppt/slideLayouts/_rels/slideLayout1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4.png"/><Relationship Id="rId1" Type="http://schemas.openxmlformats.org/officeDocument/2006/relationships/slideMaster" Target="../slideMasters/slideMaster7.xml"/><Relationship Id="rId4" Type="http://schemas.openxmlformats.org/officeDocument/2006/relationships/image" Target="../media/image23.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7.xml"/><Relationship Id="rId5" Type="http://schemas.microsoft.com/office/2007/relationships/hdphoto" Target="../media/hdphoto3.wdp"/><Relationship Id="rId4" Type="http://schemas.openxmlformats.org/officeDocument/2006/relationships/image" Target="../media/image23.png"/></Relationships>
</file>

<file path=ppt/slideLayouts/_rels/slideLayout13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4.png"/><Relationship Id="rId1" Type="http://schemas.openxmlformats.org/officeDocument/2006/relationships/slideMaster" Target="../slideMasters/slideMaster7.xml"/><Relationship Id="rId5" Type="http://schemas.microsoft.com/office/2007/relationships/hdphoto" Target="../media/hdphoto3.wdp"/><Relationship Id="rId4" Type="http://schemas.openxmlformats.org/officeDocument/2006/relationships/image" Target="../media/image23.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7.xml"/><Relationship Id="rId4" Type="http://schemas.microsoft.com/office/2007/relationships/hdphoto" Target="../media/hdphoto3.wdp"/></Relationships>
</file>

<file path=ppt/slideLayouts/_rels/slideLayout14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4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9.emf"/><Relationship Id="rId4" Type="http://schemas.openxmlformats.org/officeDocument/2006/relationships/oleObject" Target="../embeddings/oleObject1.bin"/></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2.xml"/><Relationship Id="rId5" Type="http://schemas.openxmlformats.org/officeDocument/2006/relationships/image" Target="../media/image7.png"/><Relationship Id="rId4" Type="http://schemas.openxmlformats.org/officeDocument/2006/relationships/hyperlink" Target="http://www.devscope.net/" TargetMode="Externa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pt-PT"/>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pt-PT"/>
          </a:p>
        </p:txBody>
      </p:sp>
      <p:sp>
        <p:nvSpPr>
          <p:cNvPr id="4" name="Date Placeholder 3"/>
          <p:cNvSpPr>
            <a:spLocks noGrp="1"/>
          </p:cNvSpPr>
          <p:nvPr>
            <p:ph type="dt" sz="half" idx="10"/>
          </p:nvPr>
        </p:nvSpPr>
        <p:spPr/>
        <p:txBody>
          <a:bodyPr/>
          <a:lstStyle/>
          <a:p>
            <a:fld id="{0E9FF321-A082-456B-A347-A910A2958839}" type="datetimeFigureOut">
              <a:rPr lang="pt-PT" smtClean="0"/>
              <a:t>18/05/2017</a:t>
            </a:fld>
            <a:endParaRPr lang="pt-PT"/>
          </a:p>
        </p:txBody>
      </p:sp>
      <p:sp>
        <p:nvSpPr>
          <p:cNvPr id="5" name="Footer Placeholder 4"/>
          <p:cNvSpPr>
            <a:spLocks noGrp="1"/>
          </p:cNvSpPr>
          <p:nvPr>
            <p:ph type="ftr" sz="quarter" idx="11"/>
          </p:nvPr>
        </p:nvSpPr>
        <p:spPr/>
        <p:txBody>
          <a:bodyPr/>
          <a:lstStyle/>
          <a:p>
            <a:endParaRPr lang="pt-PT"/>
          </a:p>
        </p:txBody>
      </p:sp>
      <p:sp>
        <p:nvSpPr>
          <p:cNvPr id="6" name="Slide Number Placeholder 5"/>
          <p:cNvSpPr>
            <a:spLocks noGrp="1"/>
          </p:cNvSpPr>
          <p:nvPr>
            <p:ph type="sldNum" sz="quarter" idx="12"/>
          </p:nvPr>
        </p:nvSpPr>
        <p:spPr/>
        <p:txBody>
          <a:bodyPr/>
          <a:lstStyle/>
          <a:p>
            <a:fld id="{CE1E2DB5-CD18-4F6E-90EB-D5152FC28B27}" type="slidenum">
              <a:rPr lang="pt-PT" smtClean="0"/>
              <a:t>‹#›</a:t>
            </a:fld>
            <a:endParaRPr lang="pt-PT"/>
          </a:p>
        </p:txBody>
      </p:sp>
    </p:spTree>
    <p:extLst>
      <p:ext uri="{BB962C8B-B14F-4D97-AF65-F5344CB8AC3E}">
        <p14:creationId xmlns:p14="http://schemas.microsoft.com/office/powerpoint/2010/main" val="25314504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t-PT"/>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4" name="Date Placeholder 3"/>
          <p:cNvSpPr>
            <a:spLocks noGrp="1"/>
          </p:cNvSpPr>
          <p:nvPr>
            <p:ph type="dt" sz="half" idx="10"/>
          </p:nvPr>
        </p:nvSpPr>
        <p:spPr/>
        <p:txBody>
          <a:bodyPr/>
          <a:lstStyle/>
          <a:p>
            <a:fld id="{0E9FF321-A082-456B-A347-A910A2958839}" type="datetimeFigureOut">
              <a:rPr lang="pt-PT" smtClean="0"/>
              <a:t>18/05/2017</a:t>
            </a:fld>
            <a:endParaRPr lang="pt-PT"/>
          </a:p>
        </p:txBody>
      </p:sp>
      <p:sp>
        <p:nvSpPr>
          <p:cNvPr id="5" name="Footer Placeholder 4"/>
          <p:cNvSpPr>
            <a:spLocks noGrp="1"/>
          </p:cNvSpPr>
          <p:nvPr>
            <p:ph type="ftr" sz="quarter" idx="11"/>
          </p:nvPr>
        </p:nvSpPr>
        <p:spPr/>
        <p:txBody>
          <a:bodyPr/>
          <a:lstStyle/>
          <a:p>
            <a:endParaRPr lang="pt-PT"/>
          </a:p>
        </p:txBody>
      </p:sp>
      <p:sp>
        <p:nvSpPr>
          <p:cNvPr id="6" name="Slide Number Placeholder 5"/>
          <p:cNvSpPr>
            <a:spLocks noGrp="1"/>
          </p:cNvSpPr>
          <p:nvPr>
            <p:ph type="sldNum" sz="quarter" idx="12"/>
          </p:nvPr>
        </p:nvSpPr>
        <p:spPr/>
        <p:txBody>
          <a:bodyPr/>
          <a:lstStyle/>
          <a:p>
            <a:fld id="{CE1E2DB5-CD18-4F6E-90EB-D5152FC28B27}" type="slidenum">
              <a:rPr lang="pt-PT" smtClean="0"/>
              <a:t>‹#›</a:t>
            </a:fld>
            <a:endParaRPr lang="pt-PT"/>
          </a:p>
        </p:txBody>
      </p:sp>
    </p:spTree>
    <p:extLst>
      <p:ext uri="{BB962C8B-B14F-4D97-AF65-F5344CB8AC3E}">
        <p14:creationId xmlns:p14="http://schemas.microsoft.com/office/powerpoint/2010/main" val="233367298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pic>
        <p:nvPicPr>
          <p:cNvPr id="6" name="Picture 5"/>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0941523" y="6386960"/>
            <a:ext cx="1110496" cy="360000"/>
          </a:xfrm>
          <a:prstGeom prst="rect">
            <a:avLst/>
          </a:prstGeom>
        </p:spPr>
      </p:pic>
    </p:spTree>
    <p:extLst>
      <p:ext uri="{BB962C8B-B14F-4D97-AF65-F5344CB8AC3E}">
        <p14:creationId xmlns:p14="http://schemas.microsoft.com/office/powerpoint/2010/main" val="135559467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60176888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57250"/>
            <a:ext cx="12192000"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Edit Master text styles</a:t>
            </a:r>
          </a:p>
        </p:txBody>
      </p:sp>
      <p:pic>
        <p:nvPicPr>
          <p:cNvPr id="7" name="Picture 6"/>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0941523" y="6386960"/>
            <a:ext cx="1110496" cy="360000"/>
          </a:xfrm>
          <a:prstGeom prst="rect">
            <a:avLst/>
          </a:prstGeom>
        </p:spPr>
      </p:pic>
    </p:spTree>
    <p:extLst>
      <p:ext uri="{BB962C8B-B14F-4D97-AF65-F5344CB8AC3E}">
        <p14:creationId xmlns:p14="http://schemas.microsoft.com/office/powerpoint/2010/main" val="90694465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pic>
        <p:nvPicPr>
          <p:cNvPr id="4" name="Picture 3"/>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0941523" y="6386960"/>
            <a:ext cx="1110496" cy="360000"/>
          </a:xfrm>
          <a:prstGeom prst="rect">
            <a:avLst/>
          </a:prstGeom>
        </p:spPr>
      </p:pic>
    </p:spTree>
    <p:extLst>
      <p:ext uri="{BB962C8B-B14F-4D97-AF65-F5344CB8AC3E}">
        <p14:creationId xmlns:p14="http://schemas.microsoft.com/office/powerpoint/2010/main" val="13602139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2_Title Only">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pic>
        <p:nvPicPr>
          <p:cNvPr id="3" name="Picture 2"/>
          <p:cNvPicPr>
            <a:picLocks noChangeAspect="1"/>
          </p:cNvPicPr>
          <p:nvPr userDrawn="1"/>
        </p:nvPicPr>
        <p:blipFill rotWithShape="1">
          <a:blip r:embed="rId2"/>
          <a:srcRect l="8121" t="19561" r="7939" b="19345"/>
          <a:stretch/>
        </p:blipFill>
        <p:spPr>
          <a:xfrm>
            <a:off x="10941522" y="6388344"/>
            <a:ext cx="1110496" cy="339762"/>
          </a:xfrm>
          <a:prstGeom prst="rect">
            <a:avLst/>
          </a:prstGeom>
        </p:spPr>
      </p:pic>
    </p:spTree>
    <p:extLst>
      <p:ext uri="{BB962C8B-B14F-4D97-AF65-F5344CB8AC3E}">
        <p14:creationId xmlns:p14="http://schemas.microsoft.com/office/powerpoint/2010/main" val="3059985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0941523" y="6386960"/>
            <a:ext cx="1110496" cy="360000"/>
          </a:xfrm>
          <a:prstGeom prst="rect">
            <a:avLst/>
          </a:prstGeom>
        </p:spPr>
      </p:pic>
    </p:spTree>
    <p:extLst>
      <p:ext uri="{BB962C8B-B14F-4D97-AF65-F5344CB8AC3E}">
        <p14:creationId xmlns:p14="http://schemas.microsoft.com/office/powerpoint/2010/main" val="358509555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328926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0941523" y="6386960"/>
            <a:ext cx="1110496" cy="360000"/>
          </a:xfrm>
          <a:prstGeom prst="rect">
            <a:avLst/>
          </a:prstGeom>
        </p:spPr>
      </p:pic>
    </p:spTree>
    <p:extLst>
      <p:ext uri="{BB962C8B-B14F-4D97-AF65-F5344CB8AC3E}">
        <p14:creationId xmlns:p14="http://schemas.microsoft.com/office/powerpoint/2010/main" val="321818896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3" y="2980724"/>
            <a:ext cx="7171402" cy="896552"/>
          </a:xfrm>
        </p:spPr>
        <p:txBody>
          <a:bodyPr vert="horz" wrap="square" lIns="182880" tIns="146304" rIns="182880" bIns="146304" rtlCol="0" anchor="ctr">
            <a:noAutofit/>
          </a:bodyPr>
          <a:lstStyle>
            <a:lvl1pPr marL="0" indent="0">
              <a:buFont typeface="Arial" panose="020B0604020202020204" pitchFamily="34" charset="0"/>
              <a:buNone/>
              <a:defRPr lang="en-US" sz="3600" kern="1200" spc="-70" baseline="0" smtClean="0">
                <a:solidFill>
                  <a:schemeClr val="tx1">
                    <a:lumMod val="75000"/>
                    <a:lumOff val="25000"/>
                  </a:schemeClr>
                </a:solidFill>
                <a:latin typeface="+mj-lt"/>
                <a:ea typeface="+mn-ea"/>
                <a:cs typeface="+mn-cs"/>
              </a:defRPr>
            </a:lvl1pPr>
          </a:lstStyle>
          <a:p>
            <a:pPr marL="0" lvl="0" indent="0" algn="l" defTabSz="895619" rtl="0" eaLnBrk="1" latinLnBrk="0" hangingPunct="1">
              <a:spcBef>
                <a:spcPct val="20000"/>
              </a:spcBef>
            </a:pPr>
            <a:r>
              <a:rPr lang="en-US" dirty="0"/>
              <a:t>Edit Master text styles</a:t>
            </a:r>
          </a:p>
        </p:txBody>
      </p:sp>
      <p:sp>
        <p:nvSpPr>
          <p:cNvPr id="7" name="Picture Placeholder 12"/>
          <p:cNvSpPr>
            <a:spLocks noGrp="1"/>
          </p:cNvSpPr>
          <p:nvPr>
            <p:ph type="pic" sz="quarter" idx="16"/>
          </p:nvPr>
        </p:nvSpPr>
        <p:spPr>
          <a:xfrm>
            <a:off x="269240"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vert="horz" wrap="square" lIns="0" tIns="0" rIns="0" bIns="0" rtlCol="0" anchor="t">
            <a:noAutofit/>
          </a:bodyPr>
          <a:lstStyle>
            <a:lvl1pPr>
              <a:defRPr lang="en-US" dirty="0"/>
            </a:lvl1pPr>
          </a:lstStyle>
          <a:p>
            <a:pPr lvl="0"/>
            <a:r>
              <a:rPr lang="en-US"/>
              <a:t>Click to edit Master title style</a:t>
            </a:r>
            <a:endParaRPr lang="en-US" dirty="0"/>
          </a:p>
        </p:txBody>
      </p:sp>
      <p:pic>
        <p:nvPicPr>
          <p:cNvPr id="8" name="Picture 7"/>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0941523" y="6386960"/>
            <a:ext cx="1110496" cy="360000"/>
          </a:xfrm>
          <a:prstGeom prst="rect">
            <a:avLst/>
          </a:prstGeom>
        </p:spPr>
      </p:pic>
    </p:spTree>
    <p:extLst>
      <p:ext uri="{BB962C8B-B14F-4D97-AF65-F5344CB8AC3E}">
        <p14:creationId xmlns:p14="http://schemas.microsoft.com/office/powerpoint/2010/main" val="92872771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41630693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pt-PT"/>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4" name="Date Placeholder 3"/>
          <p:cNvSpPr>
            <a:spLocks noGrp="1"/>
          </p:cNvSpPr>
          <p:nvPr>
            <p:ph type="dt" sz="half" idx="10"/>
          </p:nvPr>
        </p:nvSpPr>
        <p:spPr/>
        <p:txBody>
          <a:bodyPr/>
          <a:lstStyle/>
          <a:p>
            <a:fld id="{0E9FF321-A082-456B-A347-A910A2958839}" type="datetimeFigureOut">
              <a:rPr lang="pt-PT" smtClean="0"/>
              <a:t>18/05/2017</a:t>
            </a:fld>
            <a:endParaRPr lang="pt-PT"/>
          </a:p>
        </p:txBody>
      </p:sp>
      <p:sp>
        <p:nvSpPr>
          <p:cNvPr id="5" name="Footer Placeholder 4"/>
          <p:cNvSpPr>
            <a:spLocks noGrp="1"/>
          </p:cNvSpPr>
          <p:nvPr>
            <p:ph type="ftr" sz="quarter" idx="11"/>
          </p:nvPr>
        </p:nvSpPr>
        <p:spPr/>
        <p:txBody>
          <a:bodyPr/>
          <a:lstStyle/>
          <a:p>
            <a:endParaRPr lang="pt-PT"/>
          </a:p>
        </p:txBody>
      </p:sp>
      <p:sp>
        <p:nvSpPr>
          <p:cNvPr id="6" name="Slide Number Placeholder 5"/>
          <p:cNvSpPr>
            <a:spLocks noGrp="1"/>
          </p:cNvSpPr>
          <p:nvPr>
            <p:ph type="sldNum" sz="quarter" idx="12"/>
          </p:nvPr>
        </p:nvSpPr>
        <p:spPr/>
        <p:txBody>
          <a:bodyPr/>
          <a:lstStyle/>
          <a:p>
            <a:fld id="{CE1E2DB5-CD18-4F6E-90EB-D5152FC28B27}" type="slidenum">
              <a:rPr lang="pt-PT" smtClean="0"/>
              <a:t>‹#›</a:t>
            </a:fld>
            <a:endParaRPr lang="pt-PT"/>
          </a:p>
        </p:txBody>
      </p:sp>
    </p:spTree>
    <p:extLst>
      <p:ext uri="{BB962C8B-B14F-4D97-AF65-F5344CB8AC3E}">
        <p14:creationId xmlns:p14="http://schemas.microsoft.com/office/powerpoint/2010/main" val="214652625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Divider Slide Orange">
    <p:bg>
      <p:bgPr>
        <a:solidFill>
          <a:srgbClr val="EB3C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1" y="2109544"/>
            <a:ext cx="10240454" cy="997196"/>
          </a:xfrm>
          <a:prstGeom prst="rect">
            <a:avLst/>
          </a:prstGeom>
        </p:spPr>
        <p:txBody>
          <a:bodyPr lIns="91419" tIns="45710" rIns="91419" bIns="45710" anchor="b" anchorCtr="0"/>
          <a:lstStyle>
            <a:lvl1pPr>
              <a:defRPr sz="7200" spc="-150" baseline="0"/>
            </a:lvl1pPr>
          </a:lstStyle>
          <a:p>
            <a:r>
              <a:rPr lang="en-US" dirty="0"/>
              <a:t>Click to edit title style</a:t>
            </a:r>
          </a:p>
        </p:txBody>
      </p:sp>
      <p:sp>
        <p:nvSpPr>
          <p:cNvPr id="5" name="Text Placeholder 4"/>
          <p:cNvSpPr>
            <a:spLocks noGrp="1"/>
          </p:cNvSpPr>
          <p:nvPr>
            <p:ph type="body" sz="quarter" idx="12" hasCustomPrompt="1"/>
          </p:nvPr>
        </p:nvSpPr>
        <p:spPr>
          <a:xfrm>
            <a:off x="978951" y="3425825"/>
            <a:ext cx="10240454" cy="498598"/>
          </a:xfrm>
          <a:prstGeom prst="rect">
            <a:avLst/>
          </a:prstGeom>
        </p:spPr>
        <p:txBody>
          <a:bodyPr lIns="91419" tIns="45710" rIns="91419" bIns="45710">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a:t>Subtitle</a:t>
            </a:r>
          </a:p>
        </p:txBody>
      </p:sp>
    </p:spTree>
    <p:extLst>
      <p:ext uri="{BB962C8B-B14F-4D97-AF65-F5344CB8AC3E}">
        <p14:creationId xmlns:p14="http://schemas.microsoft.com/office/powerpoint/2010/main" val="1814264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Punchy Slide Orange">
    <p:bg>
      <p:bgPr>
        <a:solidFill>
          <a:srgbClr val="EB3C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0" y="2819604"/>
            <a:ext cx="11151917" cy="1218795"/>
          </a:xfrm>
          <a:prstGeom prst="rect">
            <a:avLst/>
          </a:prstGeom>
        </p:spPr>
        <p:txBody>
          <a:bodyPr lIns="91419" tIns="45710" rIns="91419" bIns="45710" anchor="b" anchorCtr="0"/>
          <a:lstStyle>
            <a:lvl1pPr>
              <a:defRPr sz="8800" spc="-300" baseline="0">
                <a:gradFill>
                  <a:gsLst>
                    <a:gs pos="100000">
                      <a:schemeClr val="tx1"/>
                    </a:gs>
                    <a:gs pos="0">
                      <a:schemeClr val="tx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240963197"/>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p>
            <a:fld id="{69DC67D6-7801-412D-AE14-0B4F8EF13AF5}" type="datetimeFigureOut">
              <a:rPr lang="en-AU" smtClean="0"/>
              <a:t>18/05/2017</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411E8258-92FF-4027-AC43-F0E74926964A}" type="slidenum">
              <a:rPr lang="en-AU" smtClean="0"/>
              <a:t>‹#›</a:t>
            </a:fld>
            <a:endParaRPr lang="en-AU"/>
          </a:p>
        </p:txBody>
      </p:sp>
    </p:spTree>
    <p:extLst>
      <p:ext uri="{BB962C8B-B14F-4D97-AF65-F5344CB8AC3E}">
        <p14:creationId xmlns:p14="http://schemas.microsoft.com/office/powerpoint/2010/main" val="120263644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Title Slide 4">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b="14711"/>
          <a:stretch/>
        </p:blipFill>
        <p:spPr>
          <a:xfrm>
            <a:off x="1" y="-30522"/>
            <a:ext cx="12192000" cy="6919044"/>
          </a:xfrm>
          <a:prstGeom prst="rect">
            <a:avLst/>
          </a:prstGeom>
        </p:spPr>
      </p:pic>
      <p:sp>
        <p:nvSpPr>
          <p:cNvPr id="17" name="Rectangle 16"/>
          <p:cNvSpPr/>
          <p:nvPr userDrawn="1"/>
        </p:nvSpPr>
        <p:spPr bwMode="gray">
          <a:xfrm>
            <a:off x="123116" y="1381528"/>
            <a:ext cx="8655398" cy="444795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23116" y="1380676"/>
            <a:ext cx="7667103" cy="1795660"/>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123116" y="3175491"/>
            <a:ext cx="7667103" cy="1790841"/>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a:t>Click to edit Master text styles</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2617" y="5900088"/>
            <a:ext cx="2262981" cy="950893"/>
          </a:xfrm>
          <a:prstGeom prst="rect">
            <a:avLst/>
          </a:prstGeom>
        </p:spPr>
      </p:pic>
    </p:spTree>
    <p:extLst>
      <p:ext uri="{BB962C8B-B14F-4D97-AF65-F5344CB8AC3E}">
        <p14:creationId xmlns:p14="http://schemas.microsoft.com/office/powerpoint/2010/main" val="7736877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2"/>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4893" y="481160"/>
            <a:ext cx="1408078" cy="300619"/>
          </a:xfrm>
          <a:prstGeom prst="rect">
            <a:avLst/>
          </a:prstGeom>
        </p:spPr>
      </p:pic>
      <p:sp>
        <p:nvSpPr>
          <p:cNvPr id="12" name="Freeform 11"/>
          <p:cNvSpPr>
            <a:spLocks noEditPoints="1"/>
          </p:cNvSpPr>
          <p:nvPr userDrawn="1"/>
        </p:nvSpPr>
        <p:spPr bwMode="black">
          <a:xfrm>
            <a:off x="2095549" y="2425051"/>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89619" tIns="44809" rIns="89619" bIns="44809" numCol="1" anchor="t" anchorCtr="0" compatLnSpc="1">
            <a:prstTxWarp prst="textNoShape">
              <a:avLst/>
            </a:prstTxWarp>
          </a:bodyPr>
          <a:lstStyle/>
          <a:p>
            <a:endParaRPr lang="en-US" sz="1764"/>
          </a:p>
        </p:txBody>
      </p:sp>
    </p:spTree>
    <p:extLst>
      <p:ext uri="{BB962C8B-B14F-4D97-AF65-F5344CB8AC3E}">
        <p14:creationId xmlns:p14="http://schemas.microsoft.com/office/powerpoint/2010/main" val="9772635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3" y="3878574"/>
            <a:ext cx="9860611"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60"/>
            <a:ext cx="1421436" cy="300619"/>
          </a:xfrm>
          <a:prstGeom prst="rect">
            <a:avLst/>
          </a:prstGeom>
        </p:spPr>
      </p:pic>
      <p:sp>
        <p:nvSpPr>
          <p:cNvPr id="7" name="Text Placeholder 2"/>
          <p:cNvSpPr>
            <a:spLocks noGrp="1"/>
          </p:cNvSpPr>
          <p:nvPr>
            <p:ph type="body" sz="quarter" idx="13" hasCustomPrompt="1"/>
          </p:nvPr>
        </p:nvSpPr>
        <p:spPr>
          <a:xfrm>
            <a:off x="8337063" y="301619"/>
            <a:ext cx="3584143" cy="567015"/>
          </a:xfrm>
        </p:spPr>
        <p:txBody>
          <a:bodyPr lIns="182880" tIns="146304" rIns="182880" bIns="146304"/>
          <a:lstStyle>
            <a:lvl1pPr marL="0" indent="0" algn="r">
              <a:buNone/>
              <a:defRPr sz="1960">
                <a:latin typeface="+mn-lt"/>
              </a:defRPr>
            </a:lvl1pPr>
            <a:lvl2pPr marL="336044" indent="0">
              <a:buNone/>
              <a:defRPr sz="1960"/>
            </a:lvl2pPr>
            <a:lvl3pPr marL="560073" indent="0">
              <a:buNone/>
              <a:defRPr sz="1960"/>
            </a:lvl3pPr>
            <a:lvl4pPr marL="784103" indent="0">
              <a:buNone/>
              <a:defRPr sz="1960"/>
            </a:lvl4pPr>
            <a:lvl5pPr marL="1008132" indent="0">
              <a:buNone/>
              <a:defRPr sz="1960"/>
            </a:lvl5pPr>
          </a:lstStyle>
          <a:p>
            <a:pPr lvl="0"/>
            <a:r>
              <a:rPr lang="en-US" dirty="0"/>
              <a:t>Session Code Here</a:t>
            </a:r>
          </a:p>
        </p:txBody>
      </p:sp>
      <p:sp>
        <p:nvSpPr>
          <p:cNvPr id="8" name="TextBox 7"/>
          <p:cNvSpPr txBox="1"/>
          <p:nvPr userDrawn="1"/>
        </p:nvSpPr>
        <p:spPr>
          <a:xfrm>
            <a:off x="283308" y="5954049"/>
            <a:ext cx="1862846" cy="615609"/>
          </a:xfrm>
          <a:prstGeom prst="rect">
            <a:avLst/>
          </a:prstGeom>
          <a:noFill/>
        </p:spPr>
        <p:txBody>
          <a:bodyPr wrap="none" lIns="179238" tIns="143391" rIns="179238" bIns="143391" rtlCol="0">
            <a:spAutoFit/>
          </a:bodyPr>
          <a:lstStyle/>
          <a:p>
            <a:pPr>
              <a:lnSpc>
                <a:spcPct val="90000"/>
              </a:lnSpc>
              <a:spcAft>
                <a:spcPts val="588"/>
              </a:spcAft>
            </a:pPr>
            <a:r>
              <a:rPr lang="en-US" sz="2352"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27745395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3" y="3878574"/>
            <a:ext cx="9860611"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337063" y="301619"/>
            <a:ext cx="3584143" cy="567015"/>
          </a:xfrm>
        </p:spPr>
        <p:txBody>
          <a:bodyPr lIns="182880" tIns="146304" rIns="182880" bIns="146304"/>
          <a:lstStyle>
            <a:lvl1pPr marL="0" indent="0" algn="r">
              <a:buNone/>
              <a:defRPr sz="1960">
                <a:latin typeface="+mn-lt"/>
              </a:defRPr>
            </a:lvl1pPr>
            <a:lvl2pPr marL="336044" indent="0">
              <a:buNone/>
              <a:defRPr sz="1960"/>
            </a:lvl2pPr>
            <a:lvl3pPr marL="560073" indent="0">
              <a:buNone/>
              <a:defRPr sz="1960"/>
            </a:lvl3pPr>
            <a:lvl4pPr marL="784103" indent="0">
              <a:buNone/>
              <a:defRPr sz="1960"/>
            </a:lvl4pPr>
            <a:lvl5pPr marL="1008132" indent="0">
              <a:buNone/>
              <a:defRPr sz="1960"/>
            </a:lvl5pPr>
          </a:lstStyle>
          <a:p>
            <a:pPr lvl="0"/>
            <a:r>
              <a:rPr lang="en-US" dirty="0"/>
              <a:t>Session Code Here</a:t>
            </a:r>
          </a:p>
        </p:txBody>
      </p:sp>
      <p:sp>
        <p:nvSpPr>
          <p:cNvPr id="8" name="Freeform 7"/>
          <p:cNvSpPr>
            <a:spLocks noChangeAspect="1" noEditPoints="1"/>
          </p:cNvSpPr>
          <p:nvPr userDrawn="1"/>
        </p:nvSpPr>
        <p:spPr bwMode="black">
          <a:xfrm>
            <a:off x="448212" y="481157"/>
            <a:ext cx="1214650" cy="30482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endParaRPr lang="en-US" sz="1764">
              <a:solidFill>
                <a:srgbClr val="404040"/>
              </a:solidFill>
            </a:endParaRPr>
          </a:p>
        </p:txBody>
      </p:sp>
      <p:sp>
        <p:nvSpPr>
          <p:cNvPr id="9" name="TextBox 8"/>
          <p:cNvSpPr txBox="1"/>
          <p:nvPr userDrawn="1"/>
        </p:nvSpPr>
        <p:spPr>
          <a:xfrm>
            <a:off x="283308" y="5954049"/>
            <a:ext cx="1862846" cy="615609"/>
          </a:xfrm>
          <a:prstGeom prst="rect">
            <a:avLst/>
          </a:prstGeom>
          <a:noFill/>
        </p:spPr>
        <p:txBody>
          <a:bodyPr wrap="none" lIns="179238" tIns="143391" rIns="179238" bIns="143391" rtlCol="0">
            <a:spAutoFit/>
          </a:bodyPr>
          <a:lstStyle/>
          <a:p>
            <a:pPr>
              <a:lnSpc>
                <a:spcPct val="90000"/>
              </a:lnSpc>
              <a:spcAft>
                <a:spcPts val="588"/>
              </a:spcAft>
            </a:pPr>
            <a:r>
              <a:rPr lang="en-US" sz="2352"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2012772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2055306"/>
          </a:xfrm>
        </p:spPr>
        <p:txBody>
          <a:bodyPr/>
          <a:lstStyle>
            <a:lvl1pPr marL="0" indent="0">
              <a:buNone/>
              <a:defRPr>
                <a:gradFill>
                  <a:gsLst>
                    <a:gs pos="1250">
                      <a:schemeClr val="tx1"/>
                    </a:gs>
                    <a:gs pos="99000">
                      <a:schemeClr val="tx1"/>
                    </a:gs>
                  </a:gsLst>
                  <a:lin ang="5400000" scaled="0"/>
                </a:gradFill>
              </a:defRPr>
            </a:lvl1pPr>
            <a:lvl2pPr marL="0" indent="0">
              <a:buFontTx/>
              <a:buNone/>
              <a:defRPr sz="2352"/>
            </a:lvl2pPr>
            <a:lvl3pPr marL="224030" indent="0">
              <a:buNone/>
              <a:defRPr/>
            </a:lvl3pPr>
            <a:lvl4pPr marL="448059" indent="0">
              <a:buNone/>
              <a:defRPr/>
            </a:lvl4pPr>
            <a:lvl5pPr marL="672088"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6632232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220576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8"/>
            <a:ext cx="5378548"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41" indent="0">
              <a:buNone/>
              <a:tabLst/>
              <a:defRPr sz="1960"/>
            </a:lvl3pPr>
            <a:lvl4pPr marL="451171" indent="0">
              <a:buNone/>
              <a:defRPr/>
            </a:lvl4pPr>
            <a:lvl5pPr marL="67208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8"/>
            <a:ext cx="5378548"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41" indent="0">
              <a:buNone/>
              <a:tabLst/>
              <a:defRPr sz="1960"/>
            </a:lvl3pPr>
            <a:lvl4pPr marL="451171" indent="0">
              <a:buNone/>
              <a:defRPr/>
            </a:lvl4pPr>
            <a:lvl5pPr marL="67208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212474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757347" y="6196318"/>
            <a:ext cx="986067" cy="191269"/>
          </a:xfrm>
          <a:prstGeom prst="rect">
            <a:avLst/>
          </a:prstGeom>
        </p:spPr>
      </p:pic>
      <p:sp>
        <p:nvSpPr>
          <p:cNvPr id="7" name="Rectangle 6"/>
          <p:cNvSpPr/>
          <p:nvPr userDrawn="1"/>
        </p:nvSpPr>
        <p:spPr bwMode="auto">
          <a:xfrm>
            <a:off x="448213" y="470067"/>
            <a:ext cx="2599604"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23464429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592" indent="-281592">
              <a:spcBef>
                <a:spcPts val="1200"/>
              </a:spcBef>
              <a:buClr>
                <a:schemeClr val="tx1"/>
              </a:buClr>
              <a:buFont typeface="Arial" pitchFamily="34" charset="0"/>
              <a:buChar char="•"/>
              <a:defRPr sz="3136"/>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92" indent="-281592">
              <a:spcBef>
                <a:spcPts val="1200"/>
              </a:spcBef>
              <a:buClr>
                <a:schemeClr val="tx1"/>
              </a:buClr>
              <a:buFont typeface="Arial" pitchFamily="34" charset="0"/>
              <a:buChar char="•"/>
              <a:defRPr sz="3136"/>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56826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202422776"/>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5" y="2906013"/>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623706556"/>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8"/>
            <a:ext cx="8964248" cy="1158793"/>
          </a:xfrm>
          <a:noFill/>
        </p:spPr>
        <p:txBody>
          <a:bodyPr wrap="square" tIns="91440" bIns="91440" anchor="t" anchorCtr="0">
            <a:spAutoFit/>
          </a:bodyPr>
          <a:lstStyle>
            <a:lvl1pPr>
              <a:defRPr sz="7056" spc="-98" baseline="0">
                <a:gradFill>
                  <a:gsLst>
                    <a:gs pos="6195">
                      <a:schemeClr val="tx1"/>
                    </a:gs>
                    <a:gs pos="24779">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8964247" cy="724246"/>
          </a:xfrm>
          <a:noFill/>
        </p:spPr>
        <p:txBody>
          <a:bodyPr wrap="square" lIns="182880" tIns="146304" rIns="182880" bIns="146304">
            <a:spAutoFit/>
          </a:bodyPr>
          <a:lstStyle>
            <a:lvl1pPr marL="0" indent="0">
              <a:spcBef>
                <a:spcPts val="0"/>
              </a:spcBef>
              <a:buNone/>
              <a:defRPr sz="3136" spc="0" baseline="0">
                <a:gradFill>
                  <a:gsLst>
                    <a:gs pos="6195">
                      <a:schemeClr val="tx1"/>
                    </a:gs>
                    <a:gs pos="24779">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80155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8"/>
            <a:ext cx="8964247"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7650035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716339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158793"/>
          </a:xfrm>
          <a:noFill/>
        </p:spPr>
        <p:txBody>
          <a:bodyPr tIns="91440" bIns="91440" anchor="t" anchorCtr="0">
            <a:spAutoFit/>
          </a:bodyPr>
          <a:lstStyle>
            <a:lvl1pPr>
              <a:defRPr sz="7056" spc="-98" baseline="0">
                <a:gradFill>
                  <a:gsLst>
                    <a:gs pos="21239">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3476516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8229836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8286984"/>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6156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87"/>
            <a:ext cx="8964185" cy="1793090"/>
          </a:xfrm>
          <a:noFill/>
        </p:spPr>
        <p:txBody>
          <a:bodyPr lIns="146304" tIns="91440" rIns="146304" bIns="91440" anchor="t" anchorCtr="0"/>
          <a:lstStyle>
            <a:lvl1pPr>
              <a:defRPr sz="5882" spc="-98"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757347" y="6196318"/>
            <a:ext cx="986067" cy="191269"/>
          </a:xfrm>
          <a:prstGeom prst="rect">
            <a:avLst/>
          </a:prstGeom>
        </p:spPr>
      </p:pic>
      <p:sp>
        <p:nvSpPr>
          <p:cNvPr id="7" name="Rectangle 6"/>
          <p:cNvSpPr/>
          <p:nvPr userDrawn="1"/>
        </p:nvSpPr>
        <p:spPr bwMode="auto">
          <a:xfrm>
            <a:off x="448213" y="470067"/>
            <a:ext cx="2599604"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36850735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Accent Color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764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828"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4"/>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2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7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98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716345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8"/>
            <a:ext cx="11653522"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9"/>
            <a:ext cx="1421436" cy="300619"/>
          </a:xfrm>
          <a:prstGeom prst="rect">
            <a:avLst/>
          </a:prstGeom>
        </p:spPr>
      </p:pic>
    </p:spTree>
    <p:extLst>
      <p:ext uri="{BB962C8B-B14F-4D97-AF65-F5344CB8AC3E}">
        <p14:creationId xmlns:p14="http://schemas.microsoft.com/office/powerpoint/2010/main" val="1000708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396047"/>
          </a:xfrm>
          <a:prstGeom prst="rect">
            <a:avLst/>
          </a:prstGeom>
        </p:spPr>
        <p:txBody>
          <a:bodyPr/>
          <a:lstStyle>
            <a:lvl1pPr marL="284705" indent="-28470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39885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_Title Slide - STATIC">
    <p:spTree>
      <p:nvGrpSpPr>
        <p:cNvPr id="1" name=""/>
        <p:cNvGrpSpPr/>
        <p:nvPr/>
      </p:nvGrpSpPr>
      <p:grpSpPr>
        <a:xfrm>
          <a:off x="0" y="0"/>
          <a:ext cx="0" cy="0"/>
          <a:chOff x="0" y="0"/>
          <a:chExt cx="0" cy="0"/>
        </a:xfrm>
      </p:grpSpPr>
      <p:grpSp>
        <p:nvGrpSpPr>
          <p:cNvPr id="16" name="Group 15"/>
          <p:cNvGrpSpPr/>
          <p:nvPr userDrawn="1"/>
        </p:nvGrpSpPr>
        <p:grpSpPr>
          <a:xfrm>
            <a:off x="-6285" y="-1"/>
            <a:ext cx="12198285" cy="6858005"/>
            <a:chOff x="-6411" y="-1"/>
            <a:chExt cx="12442886" cy="6994530"/>
          </a:xfrm>
        </p:grpSpPr>
        <p:pic>
          <p:nvPicPr>
            <p:cNvPr id="17" name="Picture 16"/>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040"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dirty="0">
                <a:ln>
                  <a:noFill/>
                </a:ln>
                <a:solidFill>
                  <a:prstClr val="white"/>
                </a:solidFill>
                <a:effectLst/>
                <a:uLnTx/>
                <a:uFillTx/>
                <a:latin typeface="Segoe UI"/>
                <a:ea typeface="+mn-ea"/>
                <a:cs typeface="+mn-cs"/>
              </a:endParaRPr>
            </a:p>
          </p:txBody>
        </p:sp>
      </p:grpSp>
      <p:pic>
        <p:nvPicPr>
          <p:cNvPr id="6" name="Picture 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10235293" y="6061768"/>
            <a:ext cx="1522404" cy="326167"/>
          </a:xfrm>
          <a:prstGeom prst="rect">
            <a:avLst/>
          </a:prstGeom>
        </p:spPr>
      </p:pic>
      <p:sp>
        <p:nvSpPr>
          <p:cNvPr id="8" name="Rectangle 6"/>
          <p:cNvSpPr>
            <a:spLocks noChangeArrowheads="1"/>
          </p:cNvSpPr>
          <p:nvPr userDrawn="1"/>
        </p:nvSpPr>
        <p:spPr bwMode="auto">
          <a:xfrm>
            <a:off x="3115" y="4309991"/>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07" tIns="44802" rIns="89607" bIns="44802" numCol="1" anchor="t" anchorCtr="0" compatLnSpc="1">
            <a:prstTxWarp prst="textNoShape">
              <a:avLst/>
            </a:prstTxWarp>
          </a:bodyPr>
          <a:lstStyle/>
          <a:p>
            <a:pPr marL="0" marR="0" lvl="0" indent="0" algn="l" defTabSz="913918"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21"/>
            <a:ext cx="6273418" cy="1775913"/>
          </a:xfrm>
          <a:noFill/>
        </p:spPr>
        <p:txBody>
          <a:bodyPr lIns="146304" tIns="109728" rIns="146304" bIns="91440" anchor="b" anchorCtr="0">
            <a:noAutofit/>
          </a:bodyPr>
          <a:lstStyle>
            <a:lvl1pPr marL="0" indent="0">
              <a:spcBef>
                <a:spcPts val="0"/>
              </a:spcBef>
              <a:buNone/>
              <a:defRPr sz="2744"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5" y="3134093"/>
            <a:ext cx="9860609" cy="1639736"/>
          </a:xfrm>
          <a:noFill/>
        </p:spPr>
        <p:txBody>
          <a:bodyPr lIns="146304" tIns="91440" rIns="146304" bIns="91440" anchor="t" anchorCtr="0"/>
          <a:lstStyle>
            <a:lvl1pPr>
              <a:defRPr sz="4704"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40" y="460730"/>
            <a:ext cx="7171399" cy="518319"/>
          </a:xfrm>
        </p:spPr>
        <p:txBody>
          <a:bodyPr lIns="182880" tIns="146304" rIns="182880" bIns="146304">
            <a:noAutofit/>
          </a:bodyPr>
          <a:lstStyle>
            <a:lvl1pPr>
              <a:defRPr sz="1764"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40"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5682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3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1" y="0"/>
            <a:ext cx="12192000" cy="6858000"/>
          </a:xfrm>
          <a:prstGeom prst="rect">
            <a:avLst/>
          </a:prstGeom>
        </p:spPr>
      </p:pic>
      <p:sp>
        <p:nvSpPr>
          <p:cNvPr id="18" name="Rectangle 17"/>
          <p:cNvSpPr/>
          <p:nvPr userDrawn="1"/>
        </p:nvSpPr>
        <p:spPr>
          <a:xfrm>
            <a:off x="1" y="2"/>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ctr" anchorCtr="0" forceAA="0" compatLnSpc="1">
            <a:prstTxWarp prst="textNoShape">
              <a:avLst/>
            </a:prstTxWarp>
            <a:noAutofit/>
          </a:bodyPr>
          <a:lstStyle/>
          <a:p>
            <a:pPr marL="0" marR="0" lvl="0" indent="0" algn="ctr" defTabSz="914040"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10235293" y="6061768"/>
            <a:ext cx="1522404" cy="326167"/>
          </a:xfrm>
          <a:prstGeom prst="rect">
            <a:avLst/>
          </a:prstGeom>
        </p:spPr>
      </p:pic>
      <p:sp>
        <p:nvSpPr>
          <p:cNvPr id="8" name="Rectangle 6"/>
          <p:cNvSpPr>
            <a:spLocks noChangeArrowheads="1"/>
          </p:cNvSpPr>
          <p:nvPr userDrawn="1"/>
        </p:nvSpPr>
        <p:spPr bwMode="auto">
          <a:xfrm>
            <a:off x="3115" y="4309991"/>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07" tIns="44802" rIns="89607" bIns="44802" numCol="1" anchor="t" anchorCtr="0" compatLnSpc="1">
            <a:prstTxWarp prst="textNoShape">
              <a:avLst/>
            </a:prstTxWarp>
          </a:bodyPr>
          <a:lstStyle/>
          <a:p>
            <a:pPr marL="0" marR="0" lvl="0" indent="0" algn="l" defTabSz="913918"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21"/>
            <a:ext cx="6273418" cy="1775913"/>
          </a:xfrm>
          <a:noFill/>
        </p:spPr>
        <p:txBody>
          <a:bodyPr lIns="146304" tIns="109728" rIns="146304" bIns="91440" anchor="b" anchorCtr="0">
            <a:noAutofit/>
          </a:bodyPr>
          <a:lstStyle>
            <a:lvl1pPr marL="0" indent="0">
              <a:spcBef>
                <a:spcPts val="0"/>
              </a:spcBef>
              <a:buNone/>
              <a:defRPr sz="2744"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5" y="3134093"/>
            <a:ext cx="9860609" cy="1639736"/>
          </a:xfrm>
          <a:noFill/>
        </p:spPr>
        <p:txBody>
          <a:bodyPr lIns="146304" tIns="91440" rIns="146304" bIns="91440" anchor="t" anchorCtr="0"/>
          <a:lstStyle>
            <a:lvl1pPr>
              <a:defRPr sz="4704"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40" y="460730"/>
            <a:ext cx="7171399" cy="518319"/>
          </a:xfrm>
        </p:spPr>
        <p:txBody>
          <a:bodyPr lIns="182880" tIns="146304" rIns="182880" bIns="146304">
            <a:noAutofit/>
          </a:bodyPr>
          <a:lstStyle>
            <a:lvl1pPr>
              <a:defRPr sz="1764"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40"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5980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4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12197507" cy="6862072"/>
          </a:xfrm>
          <a:prstGeom prst="rect">
            <a:avLst/>
          </a:prstGeom>
        </p:spPr>
      </p:pic>
      <p:sp>
        <p:nvSpPr>
          <p:cNvPr id="18" name="Rectangle 17"/>
          <p:cNvSpPr/>
          <p:nvPr userDrawn="1"/>
        </p:nvSpPr>
        <p:spPr>
          <a:xfrm>
            <a:off x="0" y="2"/>
            <a:ext cx="12192002"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ctr" anchorCtr="0" forceAA="0" compatLnSpc="1">
            <a:prstTxWarp prst="textNoShape">
              <a:avLst/>
            </a:prstTxWarp>
            <a:noAutofit/>
          </a:bodyPr>
          <a:lstStyle/>
          <a:p>
            <a:pPr marL="0" marR="0" lvl="0" indent="0" algn="ctr" defTabSz="914040"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10235293" y="6061768"/>
            <a:ext cx="1522404" cy="326167"/>
          </a:xfrm>
          <a:prstGeom prst="rect">
            <a:avLst/>
          </a:prstGeom>
        </p:spPr>
      </p:pic>
      <p:sp>
        <p:nvSpPr>
          <p:cNvPr id="8" name="Rectangle 6"/>
          <p:cNvSpPr>
            <a:spLocks noChangeArrowheads="1"/>
          </p:cNvSpPr>
          <p:nvPr userDrawn="1"/>
        </p:nvSpPr>
        <p:spPr bwMode="auto">
          <a:xfrm>
            <a:off x="3115" y="4309991"/>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07" tIns="44802" rIns="89607" bIns="44802" numCol="1" anchor="t" anchorCtr="0" compatLnSpc="1">
            <a:prstTxWarp prst="textNoShape">
              <a:avLst/>
            </a:prstTxWarp>
          </a:bodyPr>
          <a:lstStyle/>
          <a:p>
            <a:pPr marL="0" marR="0" lvl="0" indent="0" algn="l" defTabSz="913918"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21"/>
            <a:ext cx="6273418" cy="1775913"/>
          </a:xfrm>
          <a:noFill/>
        </p:spPr>
        <p:txBody>
          <a:bodyPr lIns="146304" tIns="109728" rIns="146304" bIns="91440" anchor="b" anchorCtr="0">
            <a:noAutofit/>
          </a:bodyPr>
          <a:lstStyle>
            <a:lvl1pPr marL="0" indent="0">
              <a:spcBef>
                <a:spcPts val="0"/>
              </a:spcBef>
              <a:buNone/>
              <a:defRPr sz="2744"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5" y="3134093"/>
            <a:ext cx="9860609" cy="1639736"/>
          </a:xfrm>
          <a:noFill/>
        </p:spPr>
        <p:txBody>
          <a:bodyPr lIns="146304" tIns="91440" rIns="146304" bIns="91440" anchor="t" anchorCtr="0"/>
          <a:lstStyle>
            <a:lvl1pPr>
              <a:defRPr sz="4704"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40" y="460730"/>
            <a:ext cx="7171399" cy="518319"/>
          </a:xfrm>
        </p:spPr>
        <p:txBody>
          <a:bodyPr lIns="182880" tIns="146304" rIns="182880" bIns="146304">
            <a:noAutofit/>
          </a:bodyPr>
          <a:lstStyle>
            <a:lvl1pPr>
              <a:defRPr sz="1764"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40"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9065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4"/>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49322" y="6061769"/>
            <a:ext cx="1522404" cy="326167"/>
          </a:xfrm>
          <a:prstGeom prst="rect">
            <a:avLst/>
          </a:prstGeom>
        </p:spPr>
      </p:pic>
      <p:sp>
        <p:nvSpPr>
          <p:cNvPr id="8" name="Rectangle 6"/>
          <p:cNvSpPr>
            <a:spLocks noChangeArrowheads="1"/>
          </p:cNvSpPr>
          <p:nvPr userDrawn="1"/>
        </p:nvSpPr>
        <p:spPr bwMode="auto">
          <a:xfrm>
            <a:off x="3115" y="4309991"/>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07" tIns="44802" rIns="89607" bIns="44802" numCol="1" anchor="t" anchorCtr="0" compatLnSpc="1">
            <a:prstTxWarp prst="textNoShape">
              <a:avLst/>
            </a:prstTxWarp>
          </a:bodyPr>
          <a:lstStyle/>
          <a:p>
            <a:pPr marL="0" marR="0" lvl="0" indent="0" algn="l" defTabSz="913918"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410975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1_Title Slide - STATIC">
    <p:spTree>
      <p:nvGrpSpPr>
        <p:cNvPr id="1" name=""/>
        <p:cNvGrpSpPr/>
        <p:nvPr/>
      </p:nvGrpSpPr>
      <p:grpSpPr>
        <a:xfrm>
          <a:off x="0" y="0"/>
          <a:ext cx="0" cy="0"/>
          <a:chOff x="0" y="0"/>
          <a:chExt cx="0" cy="0"/>
        </a:xfrm>
      </p:grpSpPr>
      <p:grpSp>
        <p:nvGrpSpPr>
          <p:cNvPr id="16" name="Group 15"/>
          <p:cNvGrpSpPr/>
          <p:nvPr userDrawn="1"/>
        </p:nvGrpSpPr>
        <p:grpSpPr>
          <a:xfrm>
            <a:off x="-6285" y="-1"/>
            <a:ext cx="12198285" cy="6858005"/>
            <a:chOff x="-6411" y="-1"/>
            <a:chExt cx="12442886" cy="6994530"/>
          </a:xfrm>
        </p:grpSpPr>
        <p:pic>
          <p:nvPicPr>
            <p:cNvPr id="17" name="Picture 16"/>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040"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dirty="0">
                <a:ln>
                  <a:noFill/>
                </a:ln>
                <a:solidFill>
                  <a:prstClr val="white"/>
                </a:solidFill>
                <a:effectLst/>
                <a:uLnTx/>
                <a:uFillTx/>
                <a:latin typeface="Segoe UI"/>
                <a:ea typeface="+mn-ea"/>
                <a:cs typeface="+mn-cs"/>
              </a:endParaRPr>
            </a:p>
          </p:txBody>
        </p:sp>
      </p:gr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8"/>
            <a:ext cx="1522404" cy="326167"/>
          </a:xfrm>
          <a:prstGeom prst="rect">
            <a:avLst/>
          </a:prstGeom>
        </p:spPr>
      </p:pic>
      <p:sp>
        <p:nvSpPr>
          <p:cNvPr id="8" name="Rectangle 6"/>
          <p:cNvSpPr>
            <a:spLocks noChangeArrowheads="1"/>
          </p:cNvSpPr>
          <p:nvPr userDrawn="1"/>
        </p:nvSpPr>
        <p:spPr bwMode="auto">
          <a:xfrm>
            <a:off x="3115" y="4309991"/>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07" tIns="44802" rIns="89607" bIns="44802" numCol="1" anchor="t" anchorCtr="0" compatLnSpc="1">
            <a:prstTxWarp prst="textNoShape">
              <a:avLst/>
            </a:prstTxWarp>
          </a:bodyPr>
          <a:lstStyle/>
          <a:p>
            <a:pPr marL="0" marR="0" lvl="0" indent="0" algn="l" defTabSz="913918"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21"/>
            <a:ext cx="6273418" cy="1775913"/>
          </a:xfrm>
          <a:noFill/>
        </p:spPr>
        <p:txBody>
          <a:bodyPr lIns="146304" tIns="109728" rIns="146304" bIns="91440" anchor="b" anchorCtr="0">
            <a:noAutofit/>
          </a:bodyPr>
          <a:lstStyle>
            <a:lvl1pPr marL="0" indent="0">
              <a:spcBef>
                <a:spcPts val="0"/>
              </a:spcBef>
              <a:buNone/>
              <a:defRPr sz="2744"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5" y="3134093"/>
            <a:ext cx="9860609" cy="1639736"/>
          </a:xfrm>
          <a:noFill/>
        </p:spPr>
        <p:txBody>
          <a:bodyPr lIns="146304" tIns="91440" rIns="146304" bIns="91440" anchor="t" anchorCtr="0"/>
          <a:lstStyle>
            <a:lvl1pPr>
              <a:defRPr sz="4704"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40" y="460730"/>
            <a:ext cx="7171399" cy="518319"/>
          </a:xfrm>
        </p:spPr>
        <p:txBody>
          <a:bodyPr lIns="182880" tIns="146304" rIns="182880" bIns="146304">
            <a:noAutofit/>
          </a:bodyPr>
          <a:lstStyle>
            <a:lvl1pPr>
              <a:defRPr sz="1764"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40"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4529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2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1" y="0"/>
            <a:ext cx="12192000" cy="6858000"/>
          </a:xfrm>
          <a:prstGeom prst="rect">
            <a:avLst/>
          </a:prstGeom>
        </p:spPr>
      </p:pic>
      <p:sp>
        <p:nvSpPr>
          <p:cNvPr id="18" name="Rectangle 17"/>
          <p:cNvSpPr/>
          <p:nvPr userDrawn="1"/>
        </p:nvSpPr>
        <p:spPr>
          <a:xfrm>
            <a:off x="1" y="2"/>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ctr" anchorCtr="0" forceAA="0" compatLnSpc="1">
            <a:prstTxWarp prst="textNoShape">
              <a:avLst/>
            </a:prstTxWarp>
            <a:noAutofit/>
          </a:bodyPr>
          <a:lstStyle/>
          <a:p>
            <a:pPr marL="0" marR="0" lvl="0" indent="0" algn="ctr" defTabSz="914040"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8"/>
            <a:ext cx="1522404" cy="326167"/>
          </a:xfrm>
          <a:prstGeom prst="rect">
            <a:avLst/>
          </a:prstGeom>
        </p:spPr>
      </p:pic>
      <p:sp>
        <p:nvSpPr>
          <p:cNvPr id="8" name="Rectangle 6"/>
          <p:cNvSpPr>
            <a:spLocks noChangeArrowheads="1"/>
          </p:cNvSpPr>
          <p:nvPr userDrawn="1"/>
        </p:nvSpPr>
        <p:spPr bwMode="auto">
          <a:xfrm>
            <a:off x="3115" y="4309991"/>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07" tIns="44802" rIns="89607" bIns="44802" numCol="1" anchor="t" anchorCtr="0" compatLnSpc="1">
            <a:prstTxWarp prst="textNoShape">
              <a:avLst/>
            </a:prstTxWarp>
          </a:bodyPr>
          <a:lstStyle/>
          <a:p>
            <a:pPr marL="0" marR="0" lvl="0" indent="0" algn="l" defTabSz="913918"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21"/>
            <a:ext cx="6273418" cy="1775913"/>
          </a:xfrm>
          <a:noFill/>
        </p:spPr>
        <p:txBody>
          <a:bodyPr lIns="146304" tIns="109728" rIns="146304" bIns="91440" anchor="b" anchorCtr="0">
            <a:noAutofit/>
          </a:bodyPr>
          <a:lstStyle>
            <a:lvl1pPr marL="0" indent="0">
              <a:spcBef>
                <a:spcPts val="0"/>
              </a:spcBef>
              <a:buNone/>
              <a:defRPr sz="2744"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5" y="3134093"/>
            <a:ext cx="9860609" cy="1639736"/>
          </a:xfrm>
          <a:noFill/>
        </p:spPr>
        <p:txBody>
          <a:bodyPr lIns="146304" tIns="91440" rIns="146304" bIns="91440" anchor="t" anchorCtr="0"/>
          <a:lstStyle>
            <a:lvl1pPr>
              <a:defRPr sz="4704"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40" y="460730"/>
            <a:ext cx="7171399" cy="518319"/>
          </a:xfrm>
        </p:spPr>
        <p:txBody>
          <a:bodyPr lIns="182880" tIns="146304" rIns="182880" bIns="146304">
            <a:noAutofit/>
          </a:bodyPr>
          <a:lstStyle>
            <a:lvl1pPr>
              <a:defRPr sz="1764"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40"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7328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757347" y="6196318"/>
            <a:ext cx="986067" cy="191269"/>
          </a:xfrm>
          <a:prstGeom prst="rect">
            <a:avLst/>
          </a:prstGeom>
        </p:spPr>
      </p:pic>
      <p:sp>
        <p:nvSpPr>
          <p:cNvPr id="7" name="Rectangle 6"/>
          <p:cNvSpPr/>
          <p:nvPr userDrawn="1"/>
        </p:nvSpPr>
        <p:spPr bwMode="auto">
          <a:xfrm>
            <a:off x="448213" y="470067"/>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1886613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3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12197507" cy="6862072"/>
          </a:xfrm>
          <a:prstGeom prst="rect">
            <a:avLst/>
          </a:prstGeom>
        </p:spPr>
      </p:pic>
      <p:sp>
        <p:nvSpPr>
          <p:cNvPr id="18" name="Rectangle 17"/>
          <p:cNvSpPr/>
          <p:nvPr userDrawn="1"/>
        </p:nvSpPr>
        <p:spPr>
          <a:xfrm>
            <a:off x="0" y="2"/>
            <a:ext cx="12192002"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ctr" anchorCtr="0" forceAA="0" compatLnSpc="1">
            <a:prstTxWarp prst="textNoShape">
              <a:avLst/>
            </a:prstTxWarp>
            <a:noAutofit/>
          </a:bodyPr>
          <a:lstStyle/>
          <a:p>
            <a:pPr marL="0" marR="0" lvl="0" indent="0" algn="ctr" defTabSz="914040"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8"/>
            <a:ext cx="1522404" cy="326167"/>
          </a:xfrm>
          <a:prstGeom prst="rect">
            <a:avLst/>
          </a:prstGeom>
        </p:spPr>
      </p:pic>
      <p:sp>
        <p:nvSpPr>
          <p:cNvPr id="8" name="Rectangle 6"/>
          <p:cNvSpPr>
            <a:spLocks noChangeArrowheads="1"/>
          </p:cNvSpPr>
          <p:nvPr userDrawn="1"/>
        </p:nvSpPr>
        <p:spPr bwMode="auto">
          <a:xfrm>
            <a:off x="3115" y="4309991"/>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07" tIns="44802" rIns="89607" bIns="44802" numCol="1" anchor="t" anchorCtr="0" compatLnSpc="1">
            <a:prstTxWarp prst="textNoShape">
              <a:avLst/>
            </a:prstTxWarp>
          </a:bodyPr>
          <a:lstStyle/>
          <a:p>
            <a:pPr marL="0" marR="0" lvl="0" indent="0" algn="l" defTabSz="913918"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21"/>
            <a:ext cx="6273418" cy="1775913"/>
          </a:xfrm>
          <a:noFill/>
        </p:spPr>
        <p:txBody>
          <a:bodyPr lIns="146304" tIns="109728" rIns="146304" bIns="91440" anchor="b" anchorCtr="0">
            <a:noAutofit/>
          </a:bodyPr>
          <a:lstStyle>
            <a:lvl1pPr marL="0" indent="0">
              <a:spcBef>
                <a:spcPts val="0"/>
              </a:spcBef>
              <a:buNone/>
              <a:defRPr sz="2744"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5" y="3134093"/>
            <a:ext cx="9860609" cy="1639736"/>
          </a:xfrm>
          <a:noFill/>
        </p:spPr>
        <p:txBody>
          <a:bodyPr lIns="146304" tIns="91440" rIns="146304" bIns="91440" anchor="t" anchorCtr="0"/>
          <a:lstStyle>
            <a:lvl1pPr>
              <a:defRPr sz="4704"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40" y="460730"/>
            <a:ext cx="7171399" cy="518319"/>
          </a:xfrm>
        </p:spPr>
        <p:txBody>
          <a:bodyPr lIns="182880" tIns="146304" rIns="182880" bIns="146304">
            <a:noAutofit/>
          </a:bodyPr>
          <a:lstStyle>
            <a:lvl1pPr>
              <a:defRPr sz="1764"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40"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106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4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4"/>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9"/>
            <a:ext cx="1522404" cy="326167"/>
          </a:xfrm>
          <a:prstGeom prst="rect">
            <a:avLst/>
          </a:prstGeom>
        </p:spPr>
      </p:pic>
      <p:sp>
        <p:nvSpPr>
          <p:cNvPr id="8" name="Rectangle 6"/>
          <p:cNvSpPr>
            <a:spLocks noChangeArrowheads="1"/>
          </p:cNvSpPr>
          <p:nvPr userDrawn="1"/>
        </p:nvSpPr>
        <p:spPr bwMode="auto">
          <a:xfrm>
            <a:off x="3115" y="4309991"/>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07" tIns="44802" rIns="89607" bIns="44802" numCol="1" anchor="t" anchorCtr="0" compatLnSpc="1">
            <a:prstTxWarp prst="textNoShape">
              <a:avLst/>
            </a:prstTxWarp>
          </a:bodyPr>
          <a:lstStyle/>
          <a:p>
            <a:pPr marL="0" marR="0" lvl="0" indent="0" algn="l" defTabSz="913918"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658644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2"/>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914040">
              <a:defRPr/>
            </a:pPr>
            <a:fld id="{FAADACFB-7C71-4E89-89D2-7BBA40B7BFA9}" type="slidenum">
              <a:rPr lang="en-US" smtClean="0">
                <a:solidFill>
                  <a:srgbClr val="505050"/>
                </a:solidFill>
              </a:rPr>
              <a:pPr defTabSz="914040">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3"/>
            <a:ext cx="11201400" cy="304801"/>
          </a:xfrm>
        </p:spPr>
        <p:txBody>
          <a:bodyPr/>
          <a:lstStyle/>
          <a:p>
            <a:pPr defTabSz="914040">
              <a:defRPr/>
            </a:pPr>
            <a:endParaRPr lang="en-US" dirty="0">
              <a:solidFill>
                <a:srgbClr val="505050"/>
              </a:solidFill>
            </a:endParaRPr>
          </a:p>
        </p:txBody>
      </p:sp>
    </p:spTree>
    <p:extLst>
      <p:ext uri="{BB962C8B-B14F-4D97-AF65-F5344CB8AC3E}">
        <p14:creationId xmlns:p14="http://schemas.microsoft.com/office/powerpoint/2010/main" val="1316847745"/>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defTabSz="914040">
              <a:defRPr/>
            </a:pPr>
            <a:fld id="{FAADACFB-7C71-4E89-89D2-7BBA40B7BFA9}" type="slidenum">
              <a:rPr lang="en-US" smtClean="0">
                <a:solidFill>
                  <a:srgbClr val="505050"/>
                </a:solidFill>
              </a:rPr>
              <a:pPr defTabSz="914040">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3"/>
            <a:ext cx="11201400" cy="304801"/>
          </a:xfrm>
        </p:spPr>
        <p:txBody>
          <a:bodyPr/>
          <a:lstStyle/>
          <a:p>
            <a:pPr defTabSz="914040">
              <a:defRPr/>
            </a:pPr>
            <a:endParaRPr lang="en-US" dirty="0">
              <a:solidFill>
                <a:srgbClr val="505050"/>
              </a:solidFill>
            </a:endParaRPr>
          </a:p>
        </p:txBody>
      </p:sp>
    </p:spTree>
    <p:extLst>
      <p:ext uri="{BB962C8B-B14F-4D97-AF65-F5344CB8AC3E}">
        <p14:creationId xmlns:p14="http://schemas.microsoft.com/office/powerpoint/2010/main" val="973696938"/>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3"/>
            <a:ext cx="11201400" cy="304801"/>
          </a:xfrm>
        </p:spPr>
        <p:txBody>
          <a:bodyPr/>
          <a:lstStyle/>
          <a:p>
            <a:pPr defTabSz="914040">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040">
              <a:defRPr/>
            </a:pPr>
            <a:fld id="{FAADACFB-7C71-4E89-89D2-7BBA40B7BFA9}" type="slidenum">
              <a:rPr lang="en-US" smtClean="0">
                <a:solidFill>
                  <a:srgbClr val="505050"/>
                </a:solidFill>
              </a:rPr>
              <a:pPr defTabSz="914040">
                <a:defRPr/>
              </a:pPr>
              <a:t>‹#›</a:t>
            </a:fld>
            <a:endParaRPr lang="en-US" dirty="0">
              <a:solidFill>
                <a:srgbClr val="505050"/>
              </a:solidFill>
            </a:endParaRPr>
          </a:p>
        </p:txBody>
      </p:sp>
    </p:spTree>
    <p:extLst>
      <p:ext uri="{BB962C8B-B14F-4D97-AF65-F5344CB8AC3E}">
        <p14:creationId xmlns:p14="http://schemas.microsoft.com/office/powerpoint/2010/main" val="2348661014"/>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3"/>
            <a:ext cx="11201400" cy="304801"/>
          </a:xfrm>
        </p:spPr>
        <p:txBody>
          <a:bodyPr/>
          <a:lstStyle/>
          <a:p>
            <a:pPr defTabSz="914040">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040">
              <a:defRPr/>
            </a:pPr>
            <a:fld id="{FAADACFB-7C71-4E89-89D2-7BBA40B7BFA9}" type="slidenum">
              <a:rPr lang="en-US" smtClean="0">
                <a:solidFill>
                  <a:srgbClr val="505050"/>
                </a:solidFill>
              </a:rPr>
              <a:pPr defTabSz="914040">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021" t="24750" r="8747"/>
          <a:stretch/>
        </p:blipFill>
        <p:spPr>
          <a:xfrm>
            <a:off x="-6283" y="-5"/>
            <a:ext cx="12198284" cy="6858005"/>
          </a:xfrm>
          <a:prstGeom prst="rect">
            <a:avLst/>
          </a:prstGeom>
        </p:spPr>
      </p:pic>
      <p:pic>
        <p:nvPicPr>
          <p:cNvPr id="8" name="Picture 7"/>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283" y="-1"/>
            <a:ext cx="12198284" cy="6858005"/>
          </a:xfrm>
          <a:prstGeom prst="rect">
            <a:avLst/>
          </a:prstGeom>
        </p:spPr>
      </p:pic>
    </p:spTree>
    <p:extLst>
      <p:ext uri="{BB962C8B-B14F-4D97-AF65-F5344CB8AC3E}">
        <p14:creationId xmlns:p14="http://schemas.microsoft.com/office/powerpoint/2010/main" val="2257906321"/>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4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3"/>
            <a:ext cx="11201400" cy="304801"/>
          </a:xfrm>
        </p:spPr>
        <p:txBody>
          <a:bodyPr/>
          <a:lstStyle/>
          <a:p>
            <a:pPr defTabSz="914040">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040">
              <a:defRPr/>
            </a:pPr>
            <a:fld id="{FAADACFB-7C71-4E89-89D2-7BBA40B7BFA9}" type="slidenum">
              <a:rPr lang="en-US" smtClean="0">
                <a:solidFill>
                  <a:srgbClr val="505050"/>
                </a:solidFill>
              </a:rPr>
              <a:pPr defTabSz="914040">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021" t="24750" r="8747"/>
          <a:stretch/>
        </p:blipFill>
        <p:spPr>
          <a:xfrm>
            <a:off x="-6283" y="-5"/>
            <a:ext cx="12198284" cy="6858005"/>
          </a:xfrm>
          <a:prstGeom prst="rect">
            <a:avLst/>
          </a:prstGeom>
        </p:spPr>
      </p:pic>
      <p:grpSp>
        <p:nvGrpSpPr>
          <p:cNvPr id="4" name="Group 3"/>
          <p:cNvGrpSpPr/>
          <p:nvPr userDrawn="1"/>
        </p:nvGrpSpPr>
        <p:grpSpPr>
          <a:xfrm>
            <a:off x="-6283" y="-1"/>
            <a:ext cx="12198284" cy="6858005"/>
            <a:chOff x="-6411" y="-1"/>
            <a:chExt cx="12442885" cy="6994530"/>
          </a:xfrm>
        </p:grpSpPr>
        <p:pic>
          <p:nvPicPr>
            <p:cNvPr id="8" name="Picture 7"/>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6" name="Rectangle 5"/>
            <p:cNvSpPr/>
            <p:nvPr userDrawn="1"/>
          </p:nvSpPr>
          <p:spPr>
            <a:xfrm>
              <a:off x="1" y="-1"/>
              <a:ext cx="6995518" cy="6994526"/>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040"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dirty="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310001824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3"/>
            <a:ext cx="11201400" cy="304801"/>
          </a:xfrm>
        </p:spPr>
        <p:txBody>
          <a:bodyPr/>
          <a:lstStyle/>
          <a:p>
            <a:pPr defTabSz="914040">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040">
              <a:defRPr/>
            </a:pPr>
            <a:fld id="{FAADACFB-7C71-4E89-89D2-7BBA40B7BFA9}" type="slidenum">
              <a:rPr lang="en-US" smtClean="0">
                <a:solidFill>
                  <a:srgbClr val="505050"/>
                </a:solidFill>
              </a:rPr>
              <a:pPr defTabSz="914040">
                <a:defRPr/>
              </a:pPr>
              <a:t>‹#›</a:t>
            </a:fld>
            <a:endParaRPr lang="en-US" dirty="0">
              <a:solidFill>
                <a:srgbClr val="505050"/>
              </a:solidFill>
            </a:endParaRPr>
          </a:p>
        </p:txBody>
      </p:sp>
      <p:pic>
        <p:nvPicPr>
          <p:cNvPr id="9"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1" y="0"/>
            <a:ext cx="12192000" cy="6858000"/>
          </a:xfrm>
          <a:prstGeom prst="rect">
            <a:avLst/>
          </a:prstGeom>
        </p:spPr>
      </p:pic>
      <p:sp>
        <p:nvSpPr>
          <p:cNvPr id="10" name="Rectangle 9"/>
          <p:cNvSpPr/>
          <p:nvPr userDrawn="1"/>
        </p:nvSpPr>
        <p:spPr>
          <a:xfrm>
            <a:off x="1" y="2"/>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ctr" anchorCtr="0" forceAA="0" compatLnSpc="1">
            <a:prstTxWarp prst="textNoShape">
              <a:avLst/>
            </a:prstTxWarp>
            <a:noAutofit/>
          </a:bodyPr>
          <a:lstStyle/>
          <a:p>
            <a:pPr marL="0" marR="0" lvl="0" indent="0" algn="ctr" defTabSz="914040"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4213220936"/>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val="0"/>
              </a:ext>
            </a:extLst>
          </a:blip>
          <a:srcRect/>
          <a:stretch/>
        </p:blipFill>
        <p:spPr>
          <a:xfrm>
            <a:off x="1" y="-1"/>
            <a:ext cx="12192000" cy="6858001"/>
          </a:xfrm>
          <a:prstGeom prst="rect">
            <a:avLst/>
          </a:prstGeom>
        </p:spPr>
      </p:pic>
      <p:sp>
        <p:nvSpPr>
          <p:cNvPr id="2" name="Footer Placeholder 1"/>
          <p:cNvSpPr>
            <a:spLocks noGrp="1"/>
          </p:cNvSpPr>
          <p:nvPr>
            <p:ph type="ftr" sz="quarter" idx="15"/>
          </p:nvPr>
        </p:nvSpPr>
        <p:spPr>
          <a:xfrm>
            <a:off x="228601" y="6553203"/>
            <a:ext cx="11201400" cy="304801"/>
          </a:xfrm>
        </p:spPr>
        <p:txBody>
          <a:bodyPr/>
          <a:lstStyle/>
          <a:p>
            <a:pPr defTabSz="914040">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040">
              <a:defRPr/>
            </a:pPr>
            <a:fld id="{FAADACFB-7C71-4E89-89D2-7BBA40B7BFA9}" type="slidenum">
              <a:rPr lang="en-US" smtClean="0">
                <a:solidFill>
                  <a:srgbClr val="505050"/>
                </a:solidFill>
              </a:rPr>
              <a:pPr defTabSz="914040">
                <a:defRPr/>
              </a:pPr>
              <a:t>‹#›</a:t>
            </a:fld>
            <a:endParaRPr lang="en-US" dirty="0">
              <a:solidFill>
                <a:srgbClr val="505050"/>
              </a:solidFill>
            </a:endParaRPr>
          </a:p>
        </p:txBody>
      </p:sp>
      <p:sp>
        <p:nvSpPr>
          <p:cNvPr id="4" name="Rectangle 3"/>
          <p:cNvSpPr/>
          <p:nvPr userDrawn="1"/>
        </p:nvSpPr>
        <p:spPr>
          <a:xfrm>
            <a:off x="2" y="-1"/>
            <a:ext cx="6858001" cy="6858001"/>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ctr" anchorCtr="0" forceAA="0" compatLnSpc="1">
            <a:prstTxWarp prst="textNoShape">
              <a:avLst/>
            </a:prstTxWarp>
            <a:noAutofit/>
          </a:bodyPr>
          <a:lstStyle/>
          <a:p>
            <a:pPr marL="0" marR="0" lvl="0" indent="0" algn="ctr" defTabSz="914040"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082226670"/>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11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val="0"/>
              </a:ext>
            </a:extLst>
          </a:blip>
          <a:srcRect/>
          <a:stretch/>
        </p:blipFill>
        <p:spPr>
          <a:xfrm>
            <a:off x="1" y="-1"/>
            <a:ext cx="12192000" cy="6858001"/>
          </a:xfrm>
          <a:prstGeom prst="rect">
            <a:avLst/>
          </a:prstGeom>
        </p:spPr>
      </p:pic>
      <p:sp>
        <p:nvSpPr>
          <p:cNvPr id="2" name="Footer Placeholder 1"/>
          <p:cNvSpPr>
            <a:spLocks noGrp="1"/>
          </p:cNvSpPr>
          <p:nvPr>
            <p:ph type="ftr" sz="quarter" idx="15"/>
          </p:nvPr>
        </p:nvSpPr>
        <p:spPr>
          <a:xfrm>
            <a:off x="228601" y="6553203"/>
            <a:ext cx="11201400" cy="304801"/>
          </a:xfrm>
        </p:spPr>
        <p:txBody>
          <a:bodyPr/>
          <a:lstStyle/>
          <a:p>
            <a:pPr defTabSz="914040">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040">
              <a:defRPr/>
            </a:pPr>
            <a:fld id="{FAADACFB-7C71-4E89-89D2-7BBA40B7BFA9}" type="slidenum">
              <a:rPr lang="en-US" smtClean="0">
                <a:solidFill>
                  <a:srgbClr val="505050"/>
                </a:solidFill>
              </a:rPr>
              <a:pPr defTabSz="914040">
                <a:defRPr/>
              </a:pPr>
              <a:t>‹#›</a:t>
            </a:fld>
            <a:endParaRPr lang="en-US" dirty="0">
              <a:solidFill>
                <a:srgbClr val="505050"/>
              </a:solidFill>
            </a:endParaRPr>
          </a:p>
        </p:txBody>
      </p:sp>
    </p:spTree>
    <p:extLst>
      <p:ext uri="{BB962C8B-B14F-4D97-AF65-F5344CB8AC3E}">
        <p14:creationId xmlns:p14="http://schemas.microsoft.com/office/powerpoint/2010/main" val="182076891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69302" y="3877255"/>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8213" y="6182035"/>
            <a:ext cx="986067" cy="191269"/>
          </a:xfrm>
          <a:prstGeom prst="rect">
            <a:avLst/>
          </a:prstGeom>
        </p:spPr>
      </p:pic>
      <p:sp>
        <p:nvSpPr>
          <p:cNvPr id="14" name="Rectangle 13"/>
          <p:cNvSpPr/>
          <p:nvPr userDrawn="1"/>
        </p:nvSpPr>
        <p:spPr bwMode="auto">
          <a:xfrm>
            <a:off x="448213" y="470067"/>
            <a:ext cx="2599604"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16094226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1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12192000" cy="6858001"/>
          </a:xfrm>
          <a:prstGeom prst="rect">
            <a:avLst/>
          </a:prstGeom>
        </p:spPr>
      </p:pic>
      <p:sp>
        <p:nvSpPr>
          <p:cNvPr id="2" name="Footer Placeholder 1"/>
          <p:cNvSpPr>
            <a:spLocks noGrp="1"/>
          </p:cNvSpPr>
          <p:nvPr>
            <p:ph type="ftr" sz="quarter" idx="15"/>
          </p:nvPr>
        </p:nvSpPr>
        <p:spPr>
          <a:xfrm>
            <a:off x="228601" y="6553203"/>
            <a:ext cx="11201400" cy="304801"/>
          </a:xfrm>
        </p:spPr>
        <p:txBody>
          <a:bodyPr/>
          <a:lstStyle/>
          <a:p>
            <a:pPr defTabSz="914040">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040">
              <a:defRPr/>
            </a:pPr>
            <a:fld id="{FAADACFB-7C71-4E89-89D2-7BBA40B7BFA9}" type="slidenum">
              <a:rPr lang="en-US" smtClean="0">
                <a:solidFill>
                  <a:srgbClr val="505050"/>
                </a:solidFill>
              </a:rPr>
              <a:pPr defTabSz="914040">
                <a:defRPr/>
              </a:pPr>
              <a:t>‹#›</a:t>
            </a:fld>
            <a:endParaRPr lang="en-US" dirty="0">
              <a:solidFill>
                <a:srgbClr val="505050"/>
              </a:solidFill>
            </a:endParaRPr>
          </a:p>
        </p:txBody>
      </p:sp>
    </p:spTree>
    <p:extLst>
      <p:ext uri="{BB962C8B-B14F-4D97-AF65-F5344CB8AC3E}">
        <p14:creationId xmlns:p14="http://schemas.microsoft.com/office/powerpoint/2010/main" val="397204998"/>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530" indent="0">
              <a:buNone/>
              <a:defRPr>
                <a:solidFill>
                  <a:schemeClr val="tx1"/>
                </a:solidFill>
                <a:latin typeface="Courier New" pitchFamily="49" charset="0"/>
                <a:cs typeface="Courier New" pitchFamily="49" charset="0"/>
              </a:defRPr>
            </a:lvl2pPr>
            <a:lvl3pPr marL="588171" indent="0">
              <a:buNone/>
              <a:defRPr>
                <a:solidFill>
                  <a:schemeClr val="tx1"/>
                </a:solidFill>
                <a:latin typeface="Courier New" pitchFamily="49" charset="0"/>
                <a:cs typeface="Courier New" pitchFamily="49" charset="0"/>
              </a:defRPr>
            </a:lvl3pPr>
            <a:lvl4pPr marL="869701" indent="0">
              <a:buNone/>
              <a:defRPr>
                <a:solidFill>
                  <a:schemeClr val="tx1"/>
                </a:solidFill>
                <a:latin typeface="Courier New" pitchFamily="49" charset="0"/>
                <a:cs typeface="Courier New" pitchFamily="49" charset="0"/>
              </a:defRPr>
            </a:lvl4pPr>
            <a:lvl5pPr marL="1104968"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2"/>
            <a:ext cx="11201400" cy="304801"/>
          </a:xfrm>
        </p:spPr>
        <p:txBody>
          <a:bodyPr/>
          <a:lstStyle/>
          <a:p>
            <a:pPr defTabSz="914040">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914040">
              <a:defRPr/>
            </a:pPr>
            <a:fld id="{FAADACFB-7C71-4E89-89D2-7BBA40B7BFA9}" type="slidenum">
              <a:rPr lang="en-US" smtClean="0">
                <a:solidFill>
                  <a:srgbClr val="505050"/>
                </a:solidFill>
              </a:rPr>
              <a:pPr defTabSz="914040">
                <a:defRPr/>
              </a:pPr>
              <a:t>‹#›</a:t>
            </a:fld>
            <a:endParaRPr lang="en-US" dirty="0">
              <a:solidFill>
                <a:srgbClr val="505050"/>
              </a:solidFill>
            </a:endParaRPr>
          </a:p>
        </p:txBody>
      </p:sp>
    </p:spTree>
    <p:extLst>
      <p:ext uri="{BB962C8B-B14F-4D97-AF65-F5344CB8AC3E}">
        <p14:creationId xmlns:p14="http://schemas.microsoft.com/office/powerpoint/2010/main" val="154141359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2"/>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913951">
              <a:defRPr/>
            </a:pPr>
            <a:fld id="{FAADACFB-7C71-4E89-89D2-7BBA40B7BFA9}" type="slidenum">
              <a:rPr lang="en-US" smtClean="0">
                <a:solidFill>
                  <a:srgbClr val="505050"/>
                </a:solidFill>
              </a:rPr>
              <a:pPr defTabSz="913951">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3"/>
            <a:ext cx="11201400" cy="304801"/>
          </a:xfrm>
        </p:spPr>
        <p:txBody>
          <a:bodyPr/>
          <a:lstStyle/>
          <a:p>
            <a:pPr defTabSz="913951">
              <a:defRPr/>
            </a:pPr>
            <a:endParaRPr lang="en-US" dirty="0">
              <a:solidFill>
                <a:srgbClr val="505050"/>
              </a:solidFill>
            </a:endParaRPr>
          </a:p>
        </p:txBody>
      </p:sp>
    </p:spTree>
    <p:extLst>
      <p:ext uri="{BB962C8B-B14F-4D97-AF65-F5344CB8AC3E}">
        <p14:creationId xmlns:p14="http://schemas.microsoft.com/office/powerpoint/2010/main" val="340037202"/>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defTabSz="913951">
              <a:defRPr/>
            </a:pPr>
            <a:fld id="{FAADACFB-7C71-4E89-89D2-7BBA40B7BFA9}" type="slidenum">
              <a:rPr lang="en-US" smtClean="0">
                <a:solidFill>
                  <a:srgbClr val="505050"/>
                </a:solidFill>
              </a:rPr>
              <a:pPr defTabSz="913951">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3"/>
            <a:ext cx="11201400" cy="304801"/>
          </a:xfrm>
        </p:spPr>
        <p:txBody>
          <a:bodyPr/>
          <a:lstStyle/>
          <a:p>
            <a:pPr defTabSz="913951">
              <a:defRPr/>
            </a:pPr>
            <a:endParaRPr lang="en-US" dirty="0">
              <a:solidFill>
                <a:srgbClr val="505050"/>
              </a:solidFill>
            </a:endParaRPr>
          </a:p>
        </p:txBody>
      </p:sp>
    </p:spTree>
    <p:extLst>
      <p:ext uri="{BB962C8B-B14F-4D97-AF65-F5344CB8AC3E}">
        <p14:creationId xmlns:p14="http://schemas.microsoft.com/office/powerpoint/2010/main" val="1559573117"/>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13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3"/>
            <a:ext cx="11201400" cy="304801"/>
          </a:xfrm>
        </p:spPr>
        <p:txBody>
          <a:bodyPr/>
          <a:lstStyle/>
          <a:p>
            <a:pPr defTabSz="913951">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3951">
              <a:defRPr/>
            </a:pPr>
            <a:fld id="{FAADACFB-7C71-4E89-89D2-7BBA40B7BFA9}" type="slidenum">
              <a:rPr lang="en-US" smtClean="0">
                <a:solidFill>
                  <a:srgbClr val="505050"/>
                </a:solidFill>
              </a:rPr>
              <a:pPr defTabSz="913951">
                <a:defRPr/>
              </a:pPr>
              <a:t>‹#›</a:t>
            </a:fld>
            <a:endParaRPr lang="en-US" dirty="0">
              <a:solidFill>
                <a:srgbClr val="505050"/>
              </a:solidFill>
            </a:endParaRPr>
          </a:p>
        </p:txBody>
      </p:sp>
    </p:spTree>
    <p:extLst>
      <p:ext uri="{BB962C8B-B14F-4D97-AF65-F5344CB8AC3E}">
        <p14:creationId xmlns:p14="http://schemas.microsoft.com/office/powerpoint/2010/main" val="254482191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530" indent="0">
              <a:buNone/>
              <a:defRPr>
                <a:solidFill>
                  <a:schemeClr val="tx1"/>
                </a:solidFill>
                <a:latin typeface="Courier New" pitchFamily="49" charset="0"/>
                <a:cs typeface="Courier New" pitchFamily="49" charset="0"/>
              </a:defRPr>
            </a:lvl2pPr>
            <a:lvl3pPr marL="588171" indent="0">
              <a:buNone/>
              <a:defRPr>
                <a:solidFill>
                  <a:schemeClr val="tx1"/>
                </a:solidFill>
                <a:latin typeface="Courier New" pitchFamily="49" charset="0"/>
                <a:cs typeface="Courier New" pitchFamily="49" charset="0"/>
              </a:defRPr>
            </a:lvl3pPr>
            <a:lvl4pPr marL="869701" indent="0">
              <a:buNone/>
              <a:defRPr>
                <a:solidFill>
                  <a:schemeClr val="tx1"/>
                </a:solidFill>
                <a:latin typeface="Courier New" pitchFamily="49" charset="0"/>
                <a:cs typeface="Courier New" pitchFamily="49" charset="0"/>
              </a:defRPr>
            </a:lvl4pPr>
            <a:lvl5pPr marL="1104968"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2"/>
            <a:ext cx="11201400" cy="304801"/>
          </a:xfrm>
        </p:spPr>
        <p:txBody>
          <a:bodyPr/>
          <a:lstStyle/>
          <a:p>
            <a:pPr defTabSz="913951">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913951">
              <a:defRPr/>
            </a:pPr>
            <a:fld id="{FAADACFB-7C71-4E89-89D2-7BBA40B7BFA9}" type="slidenum">
              <a:rPr lang="en-US" smtClean="0">
                <a:solidFill>
                  <a:srgbClr val="505050"/>
                </a:solidFill>
              </a:rPr>
              <a:pPr defTabSz="913951">
                <a:defRPr/>
              </a:pPr>
              <a:t>‹#›</a:t>
            </a:fld>
            <a:endParaRPr lang="en-US" dirty="0">
              <a:solidFill>
                <a:srgbClr val="505050"/>
              </a:solidFill>
            </a:endParaRPr>
          </a:p>
        </p:txBody>
      </p:sp>
    </p:spTree>
    <p:extLst>
      <p:ext uri="{BB962C8B-B14F-4D97-AF65-F5344CB8AC3E}">
        <p14:creationId xmlns:p14="http://schemas.microsoft.com/office/powerpoint/2010/main" val="255435222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1" y="0"/>
            <a:ext cx="12192000" cy="6858000"/>
          </a:xfrm>
        </p:spPr>
        <p:txBody>
          <a:bodyPr/>
          <a:lstStyle/>
          <a:p>
            <a:r>
              <a:rPr lang="en-US" dirty="0"/>
              <a:t>Click icon to add picture</a:t>
            </a:r>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3951" rtl="0" eaLnBrk="1" fontAlgn="auto" latinLnBrk="0" hangingPunct="1">
              <a:lnSpc>
                <a:spcPct val="100000"/>
              </a:lnSpc>
              <a:spcBef>
                <a:spcPts val="0"/>
              </a:spcBef>
              <a:spcAft>
                <a:spcPts val="0"/>
              </a:spcAft>
              <a:buClrTx/>
              <a:buSzTx/>
              <a:buFont typeface="Wingdings" pitchFamily="2" charset="2"/>
              <a:buNone/>
              <a:tabLst/>
              <a:defRPr lang="en-US" sz="5996"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3951" rtl="0" eaLnBrk="1" fontAlgn="auto" latinLnBrk="0" hangingPunct="1">
              <a:lnSpc>
                <a:spcPct val="100000"/>
              </a:lnSpc>
              <a:spcBef>
                <a:spcPts val="0"/>
              </a:spcBef>
              <a:spcAft>
                <a:spcPts val="0"/>
              </a:spcAft>
              <a:buClrTx/>
              <a:buSzTx/>
              <a:buFont typeface="Wingdings" pitchFamily="2" charset="2"/>
              <a:buNone/>
              <a:tabLst/>
              <a:defRPr/>
            </a:pPr>
            <a:r>
              <a:rPr lang="en-US" sz="4399"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1271429765"/>
      </p:ext>
    </p:extLst>
  </p:cSld>
  <p:clrMapOvr>
    <a:masterClrMapping/>
  </p:clrMapOvr>
  <p:transition>
    <p:fade/>
  </p:transition>
  <p:extLst mod="1">
    <p:ext uri="{DCECCB84-F9BA-43D5-87BE-67443E8EF086}">
      <p15:sldGuideLst xmlns:p15="http://schemas.microsoft.com/office/powerpoint/2012/main">
        <p15:guide id="1" pos="3035">
          <p15:clr>
            <a:srgbClr val="5ACBF0"/>
          </p15:clr>
        </p15:guide>
        <p15:guide id="2" pos="3622">
          <p15:clr>
            <a:srgbClr val="5ACBF0"/>
          </p15:clr>
        </p15:guide>
        <p15:guide id="3" pos="3917">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1"/>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99"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889580892"/>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5" y="2899241"/>
            <a:ext cx="2881117" cy="1059525"/>
          </a:xfrm>
          <a:prstGeom prst="rect">
            <a:avLst/>
          </a:prstGeom>
        </p:spPr>
      </p:pic>
    </p:spTree>
    <p:extLst>
      <p:ext uri="{BB962C8B-B14F-4D97-AF65-F5344CB8AC3E}">
        <p14:creationId xmlns:p14="http://schemas.microsoft.com/office/powerpoint/2010/main" val="1904820879"/>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5" y="2899241"/>
            <a:ext cx="2881117" cy="1059525"/>
          </a:xfrm>
          <a:prstGeom prst="rect">
            <a:avLst/>
          </a:prstGeom>
        </p:spPr>
      </p:pic>
    </p:spTree>
    <p:extLst>
      <p:ext uri="{BB962C8B-B14F-4D97-AF65-F5344CB8AC3E}">
        <p14:creationId xmlns:p14="http://schemas.microsoft.com/office/powerpoint/2010/main" val="22092904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0"/>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9" y="1187644"/>
            <a:ext cx="7171399" cy="1793108"/>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302" y="2971409"/>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653449" y="6164664"/>
            <a:ext cx="986067" cy="191269"/>
          </a:xfrm>
          <a:prstGeom prst="rect">
            <a:avLst/>
          </a:prstGeom>
        </p:spPr>
      </p:pic>
      <p:sp>
        <p:nvSpPr>
          <p:cNvPr id="18" name="Rectangle 17"/>
          <p:cNvSpPr/>
          <p:nvPr userDrawn="1"/>
        </p:nvSpPr>
        <p:spPr bwMode="auto">
          <a:xfrm>
            <a:off x="451548" y="487593"/>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14244153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7" name="think-cell Slide" r:id="rId4" imgW="38100" imgH="38100" progId="TCLayout.ActiveDocument.1">
                  <p:embed/>
                </p:oleObj>
              </mc:Choice>
              <mc:Fallback>
                <p:oleObj name="think-cell Slide" r:id="rId4" imgW="38100" imgH="38100" progId="TCLayout.ActiveDocument.1">
                  <p:embed/>
                  <p:pic>
                    <p:nvPicPr>
                      <p:cNvPr id="3"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nvPr>
        </p:nvSpPr>
        <p:spPr/>
        <p:txBody>
          <a:bodyPr/>
          <a:lstStyle>
            <a:lvl1pPr>
              <a:defRPr sz="5095">
                <a:solidFill>
                  <a:schemeClr val="tx2"/>
                </a:solidFill>
              </a:defRPr>
            </a:lvl1pPr>
          </a:lstStyle>
          <a:p>
            <a:r>
              <a:rPr lang="en-US" dirty="0"/>
              <a:t>Click to edit Master title style</a:t>
            </a:r>
            <a:endParaRPr lang="en-IN" dirty="0"/>
          </a:p>
        </p:txBody>
      </p:sp>
    </p:spTree>
    <p:extLst>
      <p:ext uri="{BB962C8B-B14F-4D97-AF65-F5344CB8AC3E}">
        <p14:creationId xmlns:p14="http://schemas.microsoft.com/office/powerpoint/2010/main" val="150379413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0" cy="2387600"/>
          </a:xfrm>
        </p:spPr>
        <p:txBody>
          <a:bodyPr anchor="b"/>
          <a:lstStyle>
            <a:lvl1pPr algn="ctr">
              <a:defRPr sz="5996"/>
            </a:lvl1pPr>
          </a:lstStyle>
          <a:p>
            <a:r>
              <a:rPr lang="en-US"/>
              <a:t>Click to edit Master title style</a:t>
            </a:r>
          </a:p>
        </p:txBody>
      </p:sp>
      <p:sp>
        <p:nvSpPr>
          <p:cNvPr id="3" name="Subtitle 2"/>
          <p:cNvSpPr>
            <a:spLocks noGrp="1"/>
          </p:cNvSpPr>
          <p:nvPr>
            <p:ph type="subTitle" idx="1"/>
          </p:nvPr>
        </p:nvSpPr>
        <p:spPr>
          <a:xfrm>
            <a:off x="1524001" y="3602038"/>
            <a:ext cx="9144000" cy="1655762"/>
          </a:xfrm>
        </p:spPr>
        <p:txBody>
          <a:bodyPr/>
          <a:lstStyle>
            <a:lvl1pPr marL="0" indent="0" algn="ctr">
              <a:buNone/>
              <a:defRPr sz="2399"/>
            </a:lvl1pPr>
            <a:lvl2pPr marL="456975" indent="0" algn="ctr">
              <a:buNone/>
              <a:defRPr sz="1999"/>
            </a:lvl2pPr>
            <a:lvl3pPr marL="913951" indent="0" algn="ctr">
              <a:buNone/>
              <a:defRPr sz="1799"/>
            </a:lvl3pPr>
            <a:lvl4pPr marL="1370926" indent="0" algn="ctr">
              <a:buNone/>
              <a:defRPr sz="1600"/>
            </a:lvl4pPr>
            <a:lvl5pPr marL="1827900" indent="0" algn="ctr">
              <a:buNone/>
              <a:defRPr sz="1600"/>
            </a:lvl5pPr>
            <a:lvl6pPr marL="2284875" indent="0" algn="ctr">
              <a:buNone/>
              <a:defRPr sz="1600"/>
            </a:lvl6pPr>
            <a:lvl7pPr marL="2741851" indent="0" algn="ctr">
              <a:buNone/>
              <a:defRPr sz="1600"/>
            </a:lvl7pPr>
            <a:lvl8pPr marL="3198825" indent="0" algn="ctr">
              <a:buNone/>
              <a:defRPr sz="1600"/>
            </a:lvl8pPr>
            <a:lvl9pPr marL="36558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040">
              <a:defRPr/>
            </a:pPr>
            <a:fld id="{CE89B87A-791B-4A86-8D61-B9D1FDC9DC8C}" type="datetimeFigureOut">
              <a:rPr lang="en-US" smtClean="0">
                <a:solidFill>
                  <a:srgbClr val="FFFFFF"/>
                </a:solidFill>
              </a:rPr>
              <a:pPr defTabSz="914040">
                <a:defRPr/>
              </a:pPr>
              <a:t>5/18/2017</a:t>
            </a:fld>
            <a:endParaRPr lang="en-US" dirty="0">
              <a:solidFill>
                <a:srgbClr val="FFFFFF"/>
              </a:solidFill>
            </a:endParaRPr>
          </a:p>
        </p:txBody>
      </p:sp>
      <p:sp>
        <p:nvSpPr>
          <p:cNvPr id="5" name="Footer Placeholder 4"/>
          <p:cNvSpPr>
            <a:spLocks noGrp="1"/>
          </p:cNvSpPr>
          <p:nvPr>
            <p:ph type="ftr" sz="quarter" idx="11"/>
          </p:nvPr>
        </p:nvSpPr>
        <p:spPr/>
        <p:txBody>
          <a:bodyPr/>
          <a:lstStyle/>
          <a:p>
            <a:pPr defTabSz="914040">
              <a:defRPr/>
            </a:pPr>
            <a:endParaRPr lang="en-US" sz="1799" dirty="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defTabSz="914040">
              <a:defRPr/>
            </a:pPr>
            <a:fld id="{623C24F0-A11C-4B03-8253-1AF3B5B89704}" type="slidenum">
              <a:rPr lang="en-US" sz="1799" smtClean="0">
                <a:solidFill>
                  <a:srgbClr val="FFFFFF"/>
                </a:solidFill>
                <a:latin typeface="Segoe UI"/>
                <a:ea typeface="+mn-ea"/>
              </a:rPr>
              <a:pPr algn="l" defTabSz="914040">
                <a:defRPr/>
              </a:pPr>
              <a:t>‹#›</a:t>
            </a:fld>
            <a:endParaRPr lang="en-US" sz="1799" dirty="0">
              <a:solidFill>
                <a:srgbClr val="FFFFFF"/>
              </a:solidFill>
              <a:latin typeface="Segoe UI"/>
              <a:ea typeface="+mn-ea"/>
            </a:endParaRPr>
          </a:p>
        </p:txBody>
      </p:sp>
    </p:spTree>
    <p:extLst>
      <p:ext uri="{BB962C8B-B14F-4D97-AF65-F5344CB8AC3E}">
        <p14:creationId xmlns:p14="http://schemas.microsoft.com/office/powerpoint/2010/main" val="351754290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0" cy="2387600"/>
          </a:xfrm>
        </p:spPr>
        <p:txBody>
          <a:bodyPr anchor="b"/>
          <a:lstStyle>
            <a:lvl1pPr algn="ctr">
              <a:defRPr sz="5996"/>
            </a:lvl1pPr>
          </a:lstStyle>
          <a:p>
            <a:r>
              <a:rPr lang="en-US"/>
              <a:t>Click to edit Master title style</a:t>
            </a:r>
          </a:p>
        </p:txBody>
      </p:sp>
      <p:sp>
        <p:nvSpPr>
          <p:cNvPr id="3" name="Subtitle 2"/>
          <p:cNvSpPr>
            <a:spLocks noGrp="1"/>
          </p:cNvSpPr>
          <p:nvPr>
            <p:ph type="subTitle" idx="1"/>
          </p:nvPr>
        </p:nvSpPr>
        <p:spPr>
          <a:xfrm>
            <a:off x="1524001" y="3602038"/>
            <a:ext cx="9144000" cy="1655762"/>
          </a:xfrm>
        </p:spPr>
        <p:txBody>
          <a:bodyPr/>
          <a:lstStyle>
            <a:lvl1pPr marL="0" indent="0" algn="ctr">
              <a:buNone/>
              <a:defRPr sz="2399"/>
            </a:lvl1pPr>
            <a:lvl2pPr marL="456975" indent="0" algn="ctr">
              <a:buNone/>
              <a:defRPr sz="1999"/>
            </a:lvl2pPr>
            <a:lvl3pPr marL="913951" indent="0" algn="ctr">
              <a:buNone/>
              <a:defRPr sz="1799"/>
            </a:lvl3pPr>
            <a:lvl4pPr marL="1370926" indent="0" algn="ctr">
              <a:buNone/>
              <a:defRPr sz="1600"/>
            </a:lvl4pPr>
            <a:lvl5pPr marL="1827900" indent="0" algn="ctr">
              <a:buNone/>
              <a:defRPr sz="1600"/>
            </a:lvl5pPr>
            <a:lvl6pPr marL="2284875" indent="0" algn="ctr">
              <a:buNone/>
              <a:defRPr sz="1600"/>
            </a:lvl6pPr>
            <a:lvl7pPr marL="2741851" indent="0" algn="ctr">
              <a:buNone/>
              <a:defRPr sz="1600"/>
            </a:lvl7pPr>
            <a:lvl8pPr marL="3198825" indent="0" algn="ctr">
              <a:buNone/>
              <a:defRPr sz="1600"/>
            </a:lvl8pPr>
            <a:lvl9pPr marL="36558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3951">
              <a:defRPr/>
            </a:pPr>
            <a:fld id="{CE89B87A-791B-4A86-8D61-B9D1FDC9DC8C}" type="datetimeFigureOut">
              <a:rPr lang="en-US" smtClean="0">
                <a:solidFill>
                  <a:srgbClr val="FFFFFF"/>
                </a:solidFill>
              </a:rPr>
              <a:pPr defTabSz="913951">
                <a:defRPr/>
              </a:pPr>
              <a:t>5/18/2017</a:t>
            </a:fld>
            <a:endParaRPr lang="en-US" dirty="0">
              <a:solidFill>
                <a:srgbClr val="FFFFFF"/>
              </a:solidFill>
            </a:endParaRPr>
          </a:p>
        </p:txBody>
      </p:sp>
      <p:sp>
        <p:nvSpPr>
          <p:cNvPr id="5" name="Footer Placeholder 4"/>
          <p:cNvSpPr>
            <a:spLocks noGrp="1"/>
          </p:cNvSpPr>
          <p:nvPr>
            <p:ph type="ftr" sz="quarter" idx="11"/>
          </p:nvPr>
        </p:nvSpPr>
        <p:spPr/>
        <p:txBody>
          <a:bodyPr/>
          <a:lstStyle/>
          <a:p>
            <a:pPr defTabSz="913951">
              <a:defRPr/>
            </a:pPr>
            <a:endParaRPr lang="en-US" sz="1799" dirty="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defTabSz="913951">
              <a:defRPr/>
            </a:pPr>
            <a:fld id="{623C24F0-A11C-4B03-8253-1AF3B5B89704}" type="slidenum">
              <a:rPr lang="en-US" sz="1799" smtClean="0">
                <a:solidFill>
                  <a:srgbClr val="FFFFFF"/>
                </a:solidFill>
                <a:latin typeface="Segoe UI"/>
                <a:ea typeface="+mn-ea"/>
              </a:rPr>
              <a:pPr algn="l" defTabSz="913951">
                <a:defRPr/>
              </a:pPr>
              <a:t>‹#›</a:t>
            </a:fld>
            <a:endParaRPr lang="en-US" sz="1799" dirty="0">
              <a:solidFill>
                <a:srgbClr val="FFFFFF"/>
              </a:solidFill>
              <a:latin typeface="Segoe UI"/>
              <a:ea typeface="+mn-ea"/>
            </a:endParaRPr>
          </a:p>
        </p:txBody>
      </p:sp>
    </p:spTree>
    <p:extLst>
      <p:ext uri="{BB962C8B-B14F-4D97-AF65-F5344CB8AC3E}">
        <p14:creationId xmlns:p14="http://schemas.microsoft.com/office/powerpoint/2010/main" val="92299994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_Blank Accent Color 2">
    <p:bg>
      <p:bgPr>
        <a:solidFill>
          <a:srgbClr val="99216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50733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8" y="0"/>
            <a:ext cx="12191564" cy="686076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757347" y="6196664"/>
            <a:ext cx="986067" cy="191269"/>
          </a:xfrm>
          <a:prstGeom prst="rect">
            <a:avLst/>
          </a:prstGeom>
        </p:spPr>
      </p:pic>
      <p:sp>
        <p:nvSpPr>
          <p:cNvPr id="12" name="Rectangle 11"/>
          <p:cNvSpPr/>
          <p:nvPr userDrawn="1"/>
        </p:nvSpPr>
        <p:spPr bwMode="gray">
          <a:xfrm>
            <a:off x="269302" y="1187620"/>
            <a:ext cx="7171399"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Monitor and Manage using BizTalk360</a:t>
            </a:r>
          </a:p>
        </p:txBody>
      </p:sp>
      <p:sp>
        <p:nvSpPr>
          <p:cNvPr id="15" name="Text Placeholder 4"/>
          <p:cNvSpPr>
            <a:spLocks noGrp="1"/>
          </p:cNvSpPr>
          <p:nvPr>
            <p:ph type="body" sz="quarter" idx="12" hasCustomPrompt="1"/>
          </p:nvPr>
        </p:nvSpPr>
        <p:spPr bwMode="ltGray">
          <a:xfrm>
            <a:off x="269302" y="2971385"/>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err="1"/>
              <a:t>Saravana</a:t>
            </a:r>
            <a:r>
              <a:rPr lang="en-US" dirty="0"/>
              <a:t> Kumar</a:t>
            </a:r>
          </a:p>
          <a:p>
            <a:pPr lvl="0"/>
            <a:r>
              <a:rPr lang="en-US" dirty="0"/>
              <a:t>Founder/CTO, Microsoft Integration MVP</a:t>
            </a:r>
          </a:p>
        </p:txBody>
      </p:sp>
      <p:pic>
        <p:nvPicPr>
          <p:cNvPr id="9" name="Picture 2" descr="C:\Users\spereira\Desktop\Imagem DevScope\devscope-with-signature.png">
            <a:hlinkClick r:id="rId4"/>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48601" y="4789685"/>
            <a:ext cx="2510088" cy="8806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9916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3" y="0"/>
            <a:ext cx="12182534" cy="6857999"/>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653449" y="6164664"/>
            <a:ext cx="986067" cy="191269"/>
          </a:xfrm>
          <a:prstGeom prst="rect">
            <a:avLst/>
          </a:prstGeom>
        </p:spPr>
      </p:pic>
      <p:sp>
        <p:nvSpPr>
          <p:cNvPr id="13" name="Rectangle 12"/>
          <p:cNvSpPr/>
          <p:nvPr userDrawn="1"/>
        </p:nvSpPr>
        <p:spPr bwMode="gray">
          <a:xfrm>
            <a:off x="269302" y="2084147"/>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69302" y="3877255"/>
            <a:ext cx="7171399"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sp>
        <p:nvSpPr>
          <p:cNvPr id="23" name="Rectangle 22"/>
          <p:cNvSpPr/>
          <p:nvPr userDrawn="1"/>
        </p:nvSpPr>
        <p:spPr bwMode="auto">
          <a:xfrm>
            <a:off x="448213" y="470067"/>
            <a:ext cx="2599604"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2140209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49"/>
            <a:ext cx="12192000" cy="6855702"/>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0167" y="6164664"/>
            <a:ext cx="986067" cy="191269"/>
          </a:xfrm>
          <a:prstGeom prst="rect">
            <a:avLst/>
          </a:prstGeom>
        </p:spPr>
      </p:pic>
      <p:sp>
        <p:nvSpPr>
          <p:cNvPr id="10" name="Rectangle 9"/>
          <p:cNvSpPr/>
          <p:nvPr userDrawn="1"/>
        </p:nvSpPr>
        <p:spPr bwMode="gray">
          <a:xfrm>
            <a:off x="269302" y="1187621"/>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69302" y="2971385"/>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sp>
        <p:nvSpPr>
          <p:cNvPr id="16" name="Rectangle 15"/>
          <p:cNvSpPr/>
          <p:nvPr userDrawn="1"/>
        </p:nvSpPr>
        <p:spPr bwMode="auto">
          <a:xfrm>
            <a:off x="448585" y="470067"/>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32475776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t-PT"/>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4" name="Date Placeholder 3"/>
          <p:cNvSpPr>
            <a:spLocks noGrp="1"/>
          </p:cNvSpPr>
          <p:nvPr>
            <p:ph type="dt" sz="half" idx="10"/>
          </p:nvPr>
        </p:nvSpPr>
        <p:spPr/>
        <p:txBody>
          <a:bodyPr/>
          <a:lstStyle/>
          <a:p>
            <a:fld id="{0E9FF321-A082-456B-A347-A910A2958839}" type="datetimeFigureOut">
              <a:rPr lang="pt-PT" smtClean="0"/>
              <a:t>18/05/2017</a:t>
            </a:fld>
            <a:endParaRPr lang="pt-PT"/>
          </a:p>
        </p:txBody>
      </p:sp>
      <p:sp>
        <p:nvSpPr>
          <p:cNvPr id="5" name="Footer Placeholder 4"/>
          <p:cNvSpPr>
            <a:spLocks noGrp="1"/>
          </p:cNvSpPr>
          <p:nvPr>
            <p:ph type="ftr" sz="quarter" idx="11"/>
          </p:nvPr>
        </p:nvSpPr>
        <p:spPr/>
        <p:txBody>
          <a:bodyPr/>
          <a:lstStyle/>
          <a:p>
            <a:endParaRPr lang="pt-PT"/>
          </a:p>
        </p:txBody>
      </p:sp>
      <p:sp>
        <p:nvSpPr>
          <p:cNvPr id="6" name="Slide Number Placeholder 5"/>
          <p:cNvSpPr>
            <a:spLocks noGrp="1"/>
          </p:cNvSpPr>
          <p:nvPr>
            <p:ph type="sldNum" sz="quarter" idx="12"/>
          </p:nvPr>
        </p:nvSpPr>
        <p:spPr/>
        <p:txBody>
          <a:bodyPr/>
          <a:lstStyle/>
          <a:p>
            <a:fld id="{CE1E2DB5-CD18-4F6E-90EB-D5152FC28B27}" type="slidenum">
              <a:rPr lang="pt-PT" smtClean="0"/>
              <a:t>‹#›</a:t>
            </a:fld>
            <a:endParaRPr lang="pt-PT"/>
          </a:p>
        </p:txBody>
      </p:sp>
    </p:spTree>
    <p:extLst>
      <p:ext uri="{BB962C8B-B14F-4D97-AF65-F5344CB8AC3E}">
        <p14:creationId xmlns:p14="http://schemas.microsoft.com/office/powerpoint/2010/main" val="7781355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158305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182603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1572476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15789038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809621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54314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347389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943031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541612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656668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pt-PT"/>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E9FF321-A082-456B-A347-A910A2958839}" type="datetimeFigureOut">
              <a:rPr lang="pt-PT" smtClean="0"/>
              <a:t>18/05/2017</a:t>
            </a:fld>
            <a:endParaRPr lang="pt-PT"/>
          </a:p>
        </p:txBody>
      </p:sp>
      <p:sp>
        <p:nvSpPr>
          <p:cNvPr id="5" name="Footer Placeholder 4"/>
          <p:cNvSpPr>
            <a:spLocks noGrp="1"/>
          </p:cNvSpPr>
          <p:nvPr>
            <p:ph type="ftr" sz="quarter" idx="11"/>
          </p:nvPr>
        </p:nvSpPr>
        <p:spPr/>
        <p:txBody>
          <a:bodyPr/>
          <a:lstStyle/>
          <a:p>
            <a:endParaRPr lang="pt-PT"/>
          </a:p>
        </p:txBody>
      </p:sp>
      <p:sp>
        <p:nvSpPr>
          <p:cNvPr id="6" name="Slide Number Placeholder 5"/>
          <p:cNvSpPr>
            <a:spLocks noGrp="1"/>
          </p:cNvSpPr>
          <p:nvPr>
            <p:ph type="sldNum" sz="quarter" idx="12"/>
          </p:nvPr>
        </p:nvSpPr>
        <p:spPr/>
        <p:txBody>
          <a:bodyPr/>
          <a:lstStyle/>
          <a:p>
            <a:fld id="{CE1E2DB5-CD18-4F6E-90EB-D5152FC28B27}" type="slidenum">
              <a:rPr lang="pt-PT" smtClean="0"/>
              <a:t>‹#›</a:t>
            </a:fld>
            <a:endParaRPr lang="pt-PT"/>
          </a:p>
        </p:txBody>
      </p:sp>
    </p:spTree>
    <p:extLst>
      <p:ext uri="{BB962C8B-B14F-4D97-AF65-F5344CB8AC3E}">
        <p14:creationId xmlns:p14="http://schemas.microsoft.com/office/powerpoint/2010/main" val="20618620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695612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3487667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139226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374276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232547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234911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252743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03509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9B9B9B"/>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05438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61270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t-PT"/>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5" name="Date Placeholder 4"/>
          <p:cNvSpPr>
            <a:spLocks noGrp="1"/>
          </p:cNvSpPr>
          <p:nvPr>
            <p:ph type="dt" sz="half" idx="10"/>
          </p:nvPr>
        </p:nvSpPr>
        <p:spPr/>
        <p:txBody>
          <a:bodyPr/>
          <a:lstStyle/>
          <a:p>
            <a:fld id="{0E9FF321-A082-456B-A347-A910A2958839}" type="datetimeFigureOut">
              <a:rPr lang="pt-PT" smtClean="0"/>
              <a:t>18/05/2017</a:t>
            </a:fld>
            <a:endParaRPr lang="pt-PT"/>
          </a:p>
        </p:txBody>
      </p:sp>
      <p:sp>
        <p:nvSpPr>
          <p:cNvPr id="6" name="Footer Placeholder 5"/>
          <p:cNvSpPr>
            <a:spLocks noGrp="1"/>
          </p:cNvSpPr>
          <p:nvPr>
            <p:ph type="ftr" sz="quarter" idx="11"/>
          </p:nvPr>
        </p:nvSpPr>
        <p:spPr/>
        <p:txBody>
          <a:bodyPr/>
          <a:lstStyle/>
          <a:p>
            <a:endParaRPr lang="pt-PT"/>
          </a:p>
        </p:txBody>
      </p:sp>
      <p:sp>
        <p:nvSpPr>
          <p:cNvPr id="7" name="Slide Number Placeholder 6"/>
          <p:cNvSpPr>
            <a:spLocks noGrp="1"/>
          </p:cNvSpPr>
          <p:nvPr>
            <p:ph type="sldNum" sz="quarter" idx="12"/>
          </p:nvPr>
        </p:nvSpPr>
        <p:spPr/>
        <p:txBody>
          <a:bodyPr/>
          <a:lstStyle/>
          <a:p>
            <a:fld id="{CE1E2DB5-CD18-4F6E-90EB-D5152FC28B27}" type="slidenum">
              <a:rPr lang="pt-PT" smtClean="0"/>
              <a:t>‹#›</a:t>
            </a:fld>
            <a:endParaRPr lang="pt-PT"/>
          </a:p>
        </p:txBody>
      </p:sp>
    </p:spTree>
    <p:extLst>
      <p:ext uri="{BB962C8B-B14F-4D97-AF65-F5344CB8AC3E}">
        <p14:creationId xmlns:p14="http://schemas.microsoft.com/office/powerpoint/2010/main" val="24946425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2300523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977964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1"/>
          <p:cNvSpPr txBox="1">
            <a:spLocks/>
          </p:cNvSpPr>
          <p:nvPr userDrawn="1"/>
        </p:nvSpPr>
        <p:spPr>
          <a:xfrm>
            <a:off x="269240" y="289511"/>
            <a:ext cx="11655840" cy="899665"/>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705" dirty="0"/>
              <a:t>Click to edit Master title style</a:t>
            </a:r>
          </a:p>
        </p:txBody>
      </p:sp>
    </p:spTree>
    <p:extLst>
      <p:ext uri="{BB962C8B-B14F-4D97-AF65-F5344CB8AC3E}">
        <p14:creationId xmlns:p14="http://schemas.microsoft.com/office/powerpoint/2010/main" val="254133342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Slide 4">
    <p:spTree>
      <p:nvGrpSpPr>
        <p:cNvPr id="1" name=""/>
        <p:cNvGrpSpPr/>
        <p:nvPr/>
      </p:nvGrpSpPr>
      <p:grpSpPr>
        <a:xfrm>
          <a:off x="0" y="0"/>
          <a:ext cx="0" cy="0"/>
          <a:chOff x="0" y="0"/>
          <a:chExt cx="0" cy="0"/>
        </a:xfrm>
      </p:grpSpPr>
      <p:pic>
        <p:nvPicPr>
          <p:cNvPr id="10250" name="Picture 10" descr="http://www.wallpaperbetter.com/wallpaper/637/591/681/oriente-station-lisbon-portugal-1080P-wallpaper.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57" y="0"/>
            <a:ext cx="12190443" cy="685800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123116" y="1381527"/>
            <a:ext cx="8655398" cy="444795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23116" y="1380676"/>
            <a:ext cx="7667103" cy="179566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123116" y="3175490"/>
            <a:ext cx="7667103" cy="179084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2617" y="5796424"/>
            <a:ext cx="2262982" cy="950893"/>
          </a:xfrm>
          <a:prstGeom prst="rect">
            <a:avLst/>
          </a:prstGeom>
        </p:spPr>
      </p:pic>
      <p:sp>
        <p:nvSpPr>
          <p:cNvPr id="2" name="AutoShape 2" descr="https://www.carcavelossurfschool.com/wp-content/uploads/2016/05/Sunrise-Torre-Belem-Lisbon-Portugal-2-2.jpg"/>
          <p:cNvSpPr>
            <a:spLocks noChangeAspect="1" noChangeArrowheads="1"/>
          </p:cNvSpPr>
          <p:nvPr userDrawn="1"/>
        </p:nvSpPr>
        <p:spPr bwMode="auto">
          <a:xfrm>
            <a:off x="5946596" y="3279575"/>
            <a:ext cx="298808" cy="298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pt-PT" sz="1765"/>
          </a:p>
        </p:txBody>
      </p:sp>
      <p:sp>
        <p:nvSpPr>
          <p:cNvPr id="4" name="AutoShape 8" descr="http://www.wallpaperbetter.com/wallpaper/637/591/681/oriente-station-lisbon-portugal-1080P-wallpaper.jpg"/>
          <p:cNvSpPr>
            <a:spLocks noChangeAspect="1" noChangeArrowheads="1"/>
          </p:cNvSpPr>
          <p:nvPr userDrawn="1"/>
        </p:nvSpPr>
        <p:spPr bwMode="auto">
          <a:xfrm>
            <a:off x="6096001" y="3429000"/>
            <a:ext cx="298808" cy="298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pt-PT" sz="1765"/>
          </a:p>
        </p:txBody>
      </p:sp>
    </p:spTree>
    <p:extLst>
      <p:ext uri="{BB962C8B-B14F-4D97-AF65-F5344CB8AC3E}">
        <p14:creationId xmlns:p14="http://schemas.microsoft.com/office/powerpoint/2010/main" val="10327009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20"/>
            <a:ext cx="986067" cy="191269"/>
          </a:xfrm>
          <a:prstGeom prst="rect">
            <a:avLst/>
          </a:prstGeom>
        </p:spPr>
      </p:pic>
      <p:sp>
        <p:nvSpPr>
          <p:cNvPr id="7" name="Rectangle 6"/>
          <p:cNvSpPr/>
          <p:nvPr userDrawn="1"/>
        </p:nvSpPr>
        <p:spPr bwMode="auto">
          <a:xfrm>
            <a:off x="448213" y="470069"/>
            <a:ext cx="2599604"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828" fontAlgn="base">
              <a:lnSpc>
                <a:spcPct val="90000"/>
              </a:lnSpc>
              <a:spcBef>
                <a:spcPct val="0"/>
              </a:spcBef>
              <a:spcAft>
                <a:spcPct val="0"/>
              </a:spcAft>
              <a:defRPr/>
            </a:pPr>
            <a:r>
              <a:rPr lang="en-US" sz="1764"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39020729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304" tIns="91440" rIns="146304" bIns="91440" anchor="t" anchorCtr="0"/>
          <a:lstStyle>
            <a:lvl1pPr>
              <a:defRPr sz="5880" spc="-98"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69302" y="3878574"/>
            <a:ext cx="8964186" cy="1792326"/>
          </a:xfrm>
          <a:noFill/>
        </p:spPr>
        <p:txBody>
          <a:bodyPr lIns="146304" tIns="109728" rIns="146304" bIns="109728">
            <a:noAutofit/>
          </a:bodyPr>
          <a:lstStyle>
            <a:lvl1pPr marL="0" indent="0">
              <a:spcBef>
                <a:spcPts val="0"/>
              </a:spcBef>
              <a:buNone/>
              <a:defRPr sz="3528"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20"/>
            <a:ext cx="986067" cy="191269"/>
          </a:xfrm>
          <a:prstGeom prst="rect">
            <a:avLst/>
          </a:prstGeom>
        </p:spPr>
      </p:pic>
      <p:sp>
        <p:nvSpPr>
          <p:cNvPr id="7" name="Rectangle 6"/>
          <p:cNvSpPr/>
          <p:nvPr userDrawn="1"/>
        </p:nvSpPr>
        <p:spPr bwMode="auto">
          <a:xfrm>
            <a:off x="448213" y="470069"/>
            <a:ext cx="2599604"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828" fontAlgn="base">
              <a:lnSpc>
                <a:spcPct val="90000"/>
              </a:lnSpc>
              <a:spcBef>
                <a:spcPct val="0"/>
              </a:spcBef>
              <a:spcAft>
                <a:spcPct val="0"/>
              </a:spcAft>
              <a:defRPr/>
            </a:pPr>
            <a:r>
              <a:rPr lang="en-US" sz="1764"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106319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090664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740161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25920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571338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pt-PT"/>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7" name="Date Placeholder 6"/>
          <p:cNvSpPr>
            <a:spLocks noGrp="1"/>
          </p:cNvSpPr>
          <p:nvPr>
            <p:ph type="dt" sz="half" idx="10"/>
          </p:nvPr>
        </p:nvSpPr>
        <p:spPr/>
        <p:txBody>
          <a:bodyPr/>
          <a:lstStyle/>
          <a:p>
            <a:fld id="{0E9FF321-A082-456B-A347-A910A2958839}" type="datetimeFigureOut">
              <a:rPr lang="pt-PT" smtClean="0"/>
              <a:t>18/05/2017</a:t>
            </a:fld>
            <a:endParaRPr lang="pt-PT"/>
          </a:p>
        </p:txBody>
      </p:sp>
      <p:sp>
        <p:nvSpPr>
          <p:cNvPr id="8" name="Footer Placeholder 7"/>
          <p:cNvSpPr>
            <a:spLocks noGrp="1"/>
          </p:cNvSpPr>
          <p:nvPr>
            <p:ph type="ftr" sz="quarter" idx="11"/>
          </p:nvPr>
        </p:nvSpPr>
        <p:spPr/>
        <p:txBody>
          <a:bodyPr/>
          <a:lstStyle/>
          <a:p>
            <a:endParaRPr lang="pt-PT"/>
          </a:p>
        </p:txBody>
      </p:sp>
      <p:sp>
        <p:nvSpPr>
          <p:cNvPr id="9" name="Slide Number Placeholder 8"/>
          <p:cNvSpPr>
            <a:spLocks noGrp="1"/>
          </p:cNvSpPr>
          <p:nvPr>
            <p:ph type="sldNum" sz="quarter" idx="12"/>
          </p:nvPr>
        </p:nvSpPr>
        <p:spPr/>
        <p:txBody>
          <a:bodyPr/>
          <a:lstStyle/>
          <a:p>
            <a:fld id="{CE1E2DB5-CD18-4F6E-90EB-D5152FC28B27}" type="slidenum">
              <a:rPr lang="pt-PT" smtClean="0"/>
              <a:t>‹#›</a:t>
            </a:fld>
            <a:endParaRPr lang="pt-PT"/>
          </a:p>
        </p:txBody>
      </p:sp>
    </p:spTree>
    <p:extLst>
      <p:ext uri="{BB962C8B-B14F-4D97-AF65-F5344CB8AC3E}">
        <p14:creationId xmlns:p14="http://schemas.microsoft.com/office/powerpoint/2010/main" val="244646069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93605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08959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761251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018638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2209853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592" indent="-281592">
              <a:spcBef>
                <a:spcPts val="1200"/>
              </a:spcBef>
              <a:buClr>
                <a:schemeClr val="tx1"/>
              </a:buClr>
              <a:buFont typeface="Arial" pitchFamily="34" charset="0"/>
              <a:buChar char="•"/>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486578"/>
          </a:xfrm>
        </p:spPr>
        <p:txBody>
          <a:bodyPr wrap="square">
            <a:spAutoFit/>
          </a:bodyPr>
          <a:lstStyle>
            <a:lvl1pPr marL="281592" indent="-281592">
              <a:spcBef>
                <a:spcPts val="1200"/>
              </a:spcBef>
              <a:buClr>
                <a:schemeClr val="tx1"/>
              </a:buClr>
              <a:buFont typeface="Arial" pitchFamily="34" charset="0"/>
              <a:buChar char="•"/>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66585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592" indent="-281592">
              <a:spcBef>
                <a:spcPts val="1200"/>
              </a:spcBef>
              <a:buClr>
                <a:schemeClr val="tx2"/>
              </a:buClr>
              <a:buFont typeface="Arial" pitchFamily="34" charset="0"/>
              <a:buChar char="•"/>
              <a:defRPr sz="3528">
                <a:gradFill>
                  <a:gsLst>
                    <a:gs pos="1250">
                      <a:schemeClr val="tx2"/>
                    </a:gs>
                    <a:gs pos="99000">
                      <a:schemeClr val="tx2"/>
                    </a:gs>
                  </a:gsLst>
                  <a:lin ang="5400000" scaled="0"/>
                </a:gra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486578"/>
          </a:xfrm>
        </p:spPr>
        <p:txBody>
          <a:bodyPr wrap="square">
            <a:spAutoFit/>
          </a:bodyPr>
          <a:lstStyle>
            <a:lvl1pPr marL="281592" indent="-281592">
              <a:spcBef>
                <a:spcPts val="1200"/>
              </a:spcBef>
              <a:buClr>
                <a:schemeClr val="tx2"/>
              </a:buClr>
              <a:buFont typeface="Arial" pitchFamily="34" charset="0"/>
              <a:buChar char="•"/>
              <a:defRPr sz="3528">
                <a:gradFill>
                  <a:gsLst>
                    <a:gs pos="1250">
                      <a:schemeClr val="tx2"/>
                    </a:gs>
                    <a:gs pos="99000">
                      <a:schemeClr val="tx2"/>
                    </a:gs>
                  </a:gsLst>
                  <a:lin ang="5400000" scaled="0"/>
                </a:gra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588596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688808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842921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5129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t-PT"/>
          </a:p>
        </p:txBody>
      </p:sp>
      <p:sp>
        <p:nvSpPr>
          <p:cNvPr id="3" name="Date Placeholder 2"/>
          <p:cNvSpPr>
            <a:spLocks noGrp="1"/>
          </p:cNvSpPr>
          <p:nvPr>
            <p:ph type="dt" sz="half" idx="10"/>
          </p:nvPr>
        </p:nvSpPr>
        <p:spPr/>
        <p:txBody>
          <a:bodyPr/>
          <a:lstStyle/>
          <a:p>
            <a:fld id="{0E9FF321-A082-456B-A347-A910A2958839}" type="datetimeFigureOut">
              <a:rPr lang="pt-PT" smtClean="0"/>
              <a:t>18/05/2017</a:t>
            </a:fld>
            <a:endParaRPr lang="pt-PT"/>
          </a:p>
        </p:txBody>
      </p:sp>
      <p:sp>
        <p:nvSpPr>
          <p:cNvPr id="4" name="Footer Placeholder 3"/>
          <p:cNvSpPr>
            <a:spLocks noGrp="1"/>
          </p:cNvSpPr>
          <p:nvPr>
            <p:ph type="ftr" sz="quarter" idx="11"/>
          </p:nvPr>
        </p:nvSpPr>
        <p:spPr/>
        <p:txBody>
          <a:bodyPr/>
          <a:lstStyle/>
          <a:p>
            <a:endParaRPr lang="pt-PT"/>
          </a:p>
        </p:txBody>
      </p:sp>
      <p:sp>
        <p:nvSpPr>
          <p:cNvPr id="5" name="Slide Number Placeholder 4"/>
          <p:cNvSpPr>
            <a:spLocks noGrp="1"/>
          </p:cNvSpPr>
          <p:nvPr>
            <p:ph type="sldNum" sz="quarter" idx="12"/>
          </p:nvPr>
        </p:nvSpPr>
        <p:spPr/>
        <p:txBody>
          <a:bodyPr/>
          <a:lstStyle/>
          <a:p>
            <a:fld id="{CE1E2DB5-CD18-4F6E-90EB-D5152FC28B27}" type="slidenum">
              <a:rPr lang="pt-PT" smtClean="0"/>
              <a:t>‹#›</a:t>
            </a:fld>
            <a:endParaRPr lang="pt-PT"/>
          </a:p>
        </p:txBody>
      </p:sp>
    </p:spTree>
    <p:extLst>
      <p:ext uri="{BB962C8B-B14F-4D97-AF65-F5344CB8AC3E}">
        <p14:creationId xmlns:p14="http://schemas.microsoft.com/office/powerpoint/2010/main" val="32776200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rgbClr val="00B0F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16126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85408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rgbClr val="99216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93890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2879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Blank Accent Color 3">
    <p:bg>
      <p:bgPr>
        <a:solidFill>
          <a:srgbClr val="A1B4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47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828"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4"/>
            <a:ext cx="11653522" cy="1956973"/>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24"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18"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76"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8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2416592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396047"/>
          </a:xfrm>
          <a:prstGeom prst="rect">
            <a:avLst/>
          </a:prstGeom>
        </p:spPr>
        <p:txBody>
          <a:bodyPr/>
          <a:lstStyle>
            <a:lvl1pPr marL="284705" indent="-28470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72308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1"/>
          <p:cNvSpPr txBox="1">
            <a:spLocks/>
          </p:cNvSpPr>
          <p:nvPr userDrawn="1"/>
        </p:nvSpPr>
        <p:spPr>
          <a:xfrm>
            <a:off x="269241" y="289513"/>
            <a:ext cx="11655840" cy="899665"/>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704" dirty="0">
                <a:gradFill>
                  <a:gsLst>
                    <a:gs pos="1250">
                      <a:srgbClr val="505050"/>
                    </a:gs>
                    <a:gs pos="100000">
                      <a:srgbClr val="505050"/>
                    </a:gs>
                  </a:gsLst>
                  <a:lin ang="5400000" scaled="0"/>
                </a:gradFill>
              </a:rPr>
              <a:t>Click to edit Master title style</a:t>
            </a:r>
          </a:p>
        </p:txBody>
      </p:sp>
    </p:spTree>
    <p:extLst>
      <p:ext uri="{BB962C8B-B14F-4D97-AF65-F5344CB8AC3E}">
        <p14:creationId xmlns:p14="http://schemas.microsoft.com/office/powerpoint/2010/main" val="357889775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83812" y="1684477"/>
            <a:ext cx="11151918" cy="3138399"/>
          </a:xfrm>
        </p:spPr>
        <p:txBody>
          <a:bodyPr/>
          <a:lstStyle>
            <a:lvl1pPr>
              <a:lnSpc>
                <a:spcPct val="150000"/>
              </a:lnSpc>
              <a:buClr>
                <a:schemeClr val="accent4"/>
              </a:buClr>
              <a:defRPr b="1"/>
            </a:lvl1pPr>
            <a:lvl2pPr>
              <a:lnSpc>
                <a:spcPct val="150000"/>
              </a:lnSpc>
              <a:buClr>
                <a:schemeClr val="accent4"/>
              </a:buClr>
              <a:defRPr b="1"/>
            </a:lvl2pPr>
            <a:lvl3pPr>
              <a:lnSpc>
                <a:spcPct val="150000"/>
              </a:lnSpc>
              <a:buClr>
                <a:schemeClr val="accent4"/>
              </a:buClr>
              <a:defRPr b="1"/>
            </a:lvl3pPr>
            <a:lvl4pPr>
              <a:lnSpc>
                <a:spcPct val="150000"/>
              </a:lnSpc>
              <a:buClr>
                <a:schemeClr val="accent4"/>
              </a:buClr>
              <a:defRPr b="1"/>
            </a:lvl4pPr>
            <a:lvl5pPr>
              <a:lnSpc>
                <a:spcPct val="150000"/>
              </a:lnSpc>
              <a:buClr>
                <a:schemeClr val="accent4"/>
              </a:buClr>
              <a:defRPr b="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p:nvPr>
        </p:nvSpPr>
        <p:spPr>
          <a:xfrm>
            <a:off x="269242" y="288494"/>
            <a:ext cx="11466488" cy="1163637"/>
          </a:xfrm>
        </p:spPr>
        <p:txBody>
          <a:bodyPr/>
          <a:lstStyle>
            <a:lvl1pPr>
              <a:defRPr sz="4704"/>
            </a:lvl1pPr>
          </a:lstStyle>
          <a:p>
            <a:r>
              <a:rPr lang="en-US" dirty="0"/>
              <a:t>Click to edit Master title style</a:t>
            </a:r>
            <a:endParaRPr lang="pt-PT" dirty="0"/>
          </a:p>
        </p:txBody>
      </p:sp>
    </p:spTree>
    <p:extLst>
      <p:ext uri="{BB962C8B-B14F-4D97-AF65-F5344CB8AC3E}">
        <p14:creationId xmlns:p14="http://schemas.microsoft.com/office/powerpoint/2010/main" val="71634414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9" y="788281"/>
            <a:ext cx="11151917" cy="3250120"/>
          </a:xfrm>
        </p:spPr>
        <p:txBody>
          <a:bodyPr anchor="b" anchorCtr="0"/>
          <a:lstStyle>
            <a:lvl1pPr>
              <a:defRPr sz="11729" spc="-400" baseline="0">
                <a:gradFill>
                  <a:gsLst>
                    <a:gs pos="100000">
                      <a:schemeClr val="tx2"/>
                    </a:gs>
                    <a:gs pos="0">
                      <a:schemeClr val="tx2"/>
                    </a:gs>
                  </a:gsLst>
                  <a:lin ang="5400000" scaled="0"/>
                </a:gradFill>
              </a:defRPr>
            </a:lvl1pPr>
          </a:lstStyle>
          <a:p>
            <a:r>
              <a:rPr lang="en-US" dirty="0"/>
              <a:t>Click to edit title style</a:t>
            </a:r>
          </a:p>
        </p:txBody>
      </p:sp>
      <p:grpSp>
        <p:nvGrpSpPr>
          <p:cNvPr id="4" name="Group 3"/>
          <p:cNvGrpSpPr/>
          <p:nvPr userDrawn="1"/>
        </p:nvGrpSpPr>
        <p:grpSpPr>
          <a:xfrm>
            <a:off x="7059449" y="6348379"/>
            <a:ext cx="4959556" cy="363739"/>
            <a:chOff x="7059449" y="6348377"/>
            <a:chExt cx="4959556" cy="363739"/>
          </a:xfrm>
        </p:grpSpPr>
        <p:sp>
          <p:nvSpPr>
            <p:cNvPr id="5" name="Text Placeholder 4"/>
            <p:cNvSpPr txBox="1">
              <a:spLocks/>
            </p:cNvSpPr>
            <p:nvPr userDrawn="1"/>
          </p:nvSpPr>
          <p:spPr>
            <a:xfrm>
              <a:off x="7059449" y="6385783"/>
              <a:ext cx="4176713" cy="288925"/>
            </a:xfrm>
            <a:prstGeom prst="rect">
              <a:avLst/>
            </a:prstGeom>
          </p:spPr>
          <p:txBody>
            <a:bodyPr vert="horz" lIns="91440" tIns="45720" rIns="91440" bIns="45720" rtlCol="0" anchor="ctr"/>
            <a:lstStyle>
              <a:defPPr>
                <a:defRPr lang="es-ES"/>
              </a:defPPr>
              <a:lvl1pPr marL="0" indent="0" algn="ctr" defTabSz="914400" rtl="0" eaLnBrk="1" latinLnBrk="0" hangingPunct="1">
                <a:buNone/>
                <a:defRPr sz="1600" b="0" kern="1200" cap="none" spc="0" baseline="0">
                  <a:ln w="0"/>
                  <a:solidFill>
                    <a:schemeClr val="tx1"/>
                  </a:solidFill>
                  <a:effectLst>
                    <a:outerShdw blurRad="38100" dist="25400" dir="5400000" algn="ctr" rotWithShape="0">
                      <a:srgbClr val="6E747A">
                        <a:alpha val="43000"/>
                      </a:srgbClr>
                    </a:outerShdw>
                  </a:effectLst>
                  <a:latin typeface="+mn-lt"/>
                  <a:ea typeface="+mn-ea"/>
                  <a:cs typeface="+mn-cs"/>
                </a:defRPr>
              </a:lvl1pPr>
              <a:lvl2pPr marL="457304" indent="0" algn="l" defTabSz="914400" rtl="0" eaLnBrk="1" latinLnBrk="0" hangingPunct="1">
                <a:buNone/>
                <a:defRPr sz="1800" kern="1200">
                  <a:solidFill>
                    <a:schemeClr val="tx1"/>
                  </a:solidFill>
                  <a:latin typeface="+mn-lt"/>
                  <a:ea typeface="+mn-ea"/>
                  <a:cs typeface="+mn-cs"/>
                </a:defRPr>
              </a:lvl2pPr>
              <a:lvl3pPr marL="914607" indent="0" algn="l" defTabSz="914400" rtl="0" eaLnBrk="1" latinLnBrk="0" hangingPunct="1">
                <a:buNone/>
                <a:defRPr sz="1800" kern="1200">
                  <a:solidFill>
                    <a:schemeClr val="tx1"/>
                  </a:solidFill>
                  <a:latin typeface="+mn-lt"/>
                  <a:ea typeface="+mn-ea"/>
                  <a:cs typeface="+mn-cs"/>
                </a:defRPr>
              </a:lvl3pPr>
              <a:lvl4pPr marL="1371912" indent="0" algn="l" defTabSz="914400" rtl="0" eaLnBrk="1" latinLnBrk="0" hangingPunct="1">
                <a:buNone/>
                <a:defRPr sz="1800" kern="1200">
                  <a:solidFill>
                    <a:schemeClr val="tx1"/>
                  </a:solidFill>
                  <a:latin typeface="+mn-lt"/>
                  <a:ea typeface="+mn-ea"/>
                  <a:cs typeface="+mn-cs"/>
                </a:defRPr>
              </a:lvl4pPr>
              <a:lvl5pPr marL="1829215" indent="0" algn="l" defTabSz="914400" rtl="0" eaLnBrk="1" latinLnBrk="0" hangingPunct="1">
                <a:buNone/>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t>Independent Experts – Real World Answers</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29319" y="6348377"/>
              <a:ext cx="889686" cy="363739"/>
            </a:xfrm>
            <a:prstGeom prst="rect">
              <a:avLst/>
            </a:prstGeom>
          </p:spPr>
        </p:pic>
      </p:grpSp>
    </p:spTree>
    <p:extLst>
      <p:ext uri="{BB962C8B-B14F-4D97-AF65-F5344CB8AC3E}">
        <p14:creationId xmlns:p14="http://schemas.microsoft.com/office/powerpoint/2010/main" val="178661211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E9FF321-A082-456B-A347-A910A2958839}" type="datetimeFigureOut">
              <a:rPr lang="pt-PT" smtClean="0"/>
              <a:t>18/05/2017</a:t>
            </a:fld>
            <a:endParaRPr lang="pt-PT"/>
          </a:p>
        </p:txBody>
      </p:sp>
      <p:sp>
        <p:nvSpPr>
          <p:cNvPr id="3" name="Footer Placeholder 2"/>
          <p:cNvSpPr>
            <a:spLocks noGrp="1"/>
          </p:cNvSpPr>
          <p:nvPr>
            <p:ph type="ftr" sz="quarter" idx="11"/>
          </p:nvPr>
        </p:nvSpPr>
        <p:spPr/>
        <p:txBody>
          <a:bodyPr/>
          <a:lstStyle/>
          <a:p>
            <a:endParaRPr lang="pt-PT"/>
          </a:p>
        </p:txBody>
      </p:sp>
      <p:sp>
        <p:nvSpPr>
          <p:cNvPr id="4" name="Slide Number Placeholder 3"/>
          <p:cNvSpPr>
            <a:spLocks noGrp="1"/>
          </p:cNvSpPr>
          <p:nvPr>
            <p:ph type="sldNum" sz="quarter" idx="12"/>
          </p:nvPr>
        </p:nvSpPr>
        <p:spPr/>
        <p:txBody>
          <a:bodyPr/>
          <a:lstStyle/>
          <a:p>
            <a:fld id="{CE1E2DB5-CD18-4F6E-90EB-D5152FC28B27}" type="slidenum">
              <a:rPr lang="pt-PT" smtClean="0"/>
              <a:t>‹#›</a:t>
            </a:fld>
            <a:endParaRPr lang="pt-PT"/>
          </a:p>
        </p:txBody>
      </p:sp>
    </p:spTree>
    <p:extLst>
      <p:ext uri="{BB962C8B-B14F-4D97-AF65-F5344CB8AC3E}">
        <p14:creationId xmlns:p14="http://schemas.microsoft.com/office/powerpoint/2010/main" val="145691981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041400"/>
            <a:ext cx="9144000" cy="2387600"/>
          </a:xfrm>
        </p:spPr>
        <p:txBody>
          <a:bodyPr anchor="b"/>
          <a:lstStyle>
            <a:lvl1pPr algn="ctr">
              <a:defRPr sz="5998"/>
            </a:lvl1pPr>
          </a:lstStyle>
          <a:p>
            <a:r>
              <a:rPr lang="en-US"/>
              <a:t>Click to edit Master title style</a:t>
            </a:r>
            <a:endParaRPr lang="en-AU"/>
          </a:p>
        </p:txBody>
      </p:sp>
      <p:sp>
        <p:nvSpPr>
          <p:cNvPr id="3" name="Subtitle 2"/>
          <p:cNvSpPr>
            <a:spLocks noGrp="1"/>
          </p:cNvSpPr>
          <p:nvPr>
            <p:ph type="subTitle" idx="1"/>
          </p:nvPr>
        </p:nvSpPr>
        <p:spPr>
          <a:xfrm>
            <a:off x="1524001" y="3602038"/>
            <a:ext cx="9144000"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endParaRPr lang="en-AU"/>
          </a:p>
        </p:txBody>
      </p:sp>
      <p:sp>
        <p:nvSpPr>
          <p:cNvPr id="4" name="Date Placeholder 3"/>
          <p:cNvSpPr>
            <a:spLocks noGrp="1"/>
          </p:cNvSpPr>
          <p:nvPr>
            <p:ph type="dt" sz="half" idx="10"/>
          </p:nvPr>
        </p:nvSpPr>
        <p:spPr/>
        <p:txBody>
          <a:bodyPr/>
          <a:lstStyle/>
          <a:p>
            <a:fld id="{69DC67D6-7801-412D-AE14-0B4F8EF13AF5}" type="datetimeFigureOut">
              <a:rPr lang="en-AU" smtClean="0"/>
              <a:t>18/05/2017</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411E8258-92FF-4027-AC43-F0E74926964A}" type="slidenum">
              <a:rPr lang="en-AU" smtClean="0"/>
              <a:t>‹#›</a:t>
            </a:fld>
            <a:endParaRPr lang="en-AU"/>
          </a:p>
        </p:txBody>
      </p:sp>
    </p:spTree>
    <p:extLst>
      <p:ext uri="{BB962C8B-B14F-4D97-AF65-F5344CB8AC3E}">
        <p14:creationId xmlns:p14="http://schemas.microsoft.com/office/powerpoint/2010/main" val="84516246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p>
            <a:fld id="{69DC67D6-7801-412D-AE14-0B4F8EF13AF5}" type="datetimeFigureOut">
              <a:rPr lang="en-AU" smtClean="0"/>
              <a:t>18/05/2017</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411E8258-92FF-4027-AC43-F0E74926964A}" type="slidenum">
              <a:rPr lang="en-AU" smtClean="0"/>
              <a:t>‹#›</a:t>
            </a:fld>
            <a:endParaRPr lang="en-AU"/>
          </a:p>
        </p:txBody>
      </p:sp>
    </p:spTree>
    <p:extLst>
      <p:ext uri="{BB962C8B-B14F-4D97-AF65-F5344CB8AC3E}">
        <p14:creationId xmlns:p14="http://schemas.microsoft.com/office/powerpoint/2010/main" val="111437369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62262"/>
          </a:xfrm>
        </p:spPr>
        <p:txBody>
          <a:bodyPr anchor="b"/>
          <a:lstStyle>
            <a:lvl1pPr>
              <a:defRPr sz="5998"/>
            </a:lvl1pPr>
          </a:lstStyle>
          <a:p>
            <a:r>
              <a:rPr lang="en-US"/>
              <a:t>Click to edit Master title style</a:t>
            </a:r>
            <a:endParaRPr lang="en-AU"/>
          </a:p>
        </p:txBody>
      </p:sp>
      <p:sp>
        <p:nvSpPr>
          <p:cNvPr id="3" name="Text Placeholder 2"/>
          <p:cNvSpPr>
            <a:spLocks noGrp="1"/>
          </p:cNvSpPr>
          <p:nvPr>
            <p:ph type="body" idx="1"/>
          </p:nvPr>
        </p:nvSpPr>
        <p:spPr>
          <a:xfrm>
            <a:off x="831850" y="4589465"/>
            <a:ext cx="10515600" cy="1500187"/>
          </a:xfrm>
        </p:spPr>
        <p:txBody>
          <a:bodyPr/>
          <a:lstStyle>
            <a:lvl1pPr marL="0" indent="0">
              <a:buNone/>
              <a:defRPr sz="2399"/>
            </a:lvl1pPr>
            <a:lvl2pPr marL="457063" indent="0">
              <a:buNone/>
              <a:defRPr sz="1999"/>
            </a:lvl2pPr>
            <a:lvl3pPr marL="914126" indent="0">
              <a:buNone/>
              <a:defRPr sz="1799"/>
            </a:lvl3pPr>
            <a:lvl4pPr marL="1371189" indent="0">
              <a:buNone/>
              <a:defRPr sz="1600"/>
            </a:lvl4pPr>
            <a:lvl5pPr marL="1828251" indent="0">
              <a:buNone/>
              <a:defRPr sz="1600"/>
            </a:lvl5pPr>
            <a:lvl6pPr marL="2285314" indent="0">
              <a:buNone/>
              <a:defRPr sz="1600"/>
            </a:lvl6pPr>
            <a:lvl7pPr marL="2742377" indent="0">
              <a:buNone/>
              <a:defRPr sz="1600"/>
            </a:lvl7pPr>
            <a:lvl8pPr marL="3199440" indent="0">
              <a:buNone/>
              <a:defRPr sz="1600"/>
            </a:lvl8pPr>
            <a:lvl9pPr marL="3656503" indent="0">
              <a:buNone/>
              <a:defRPr sz="1600"/>
            </a:lvl9pPr>
          </a:lstStyle>
          <a:p>
            <a:pPr lvl="0"/>
            <a:r>
              <a:rPr lang="en-US"/>
              <a:t>Click to edit Master text styles</a:t>
            </a:r>
          </a:p>
        </p:txBody>
      </p:sp>
      <p:sp>
        <p:nvSpPr>
          <p:cNvPr id="4" name="Date Placeholder 3"/>
          <p:cNvSpPr>
            <a:spLocks noGrp="1"/>
          </p:cNvSpPr>
          <p:nvPr>
            <p:ph type="dt" sz="half" idx="10"/>
          </p:nvPr>
        </p:nvSpPr>
        <p:spPr/>
        <p:txBody>
          <a:bodyPr/>
          <a:lstStyle/>
          <a:p>
            <a:fld id="{69DC67D6-7801-412D-AE14-0B4F8EF13AF5}" type="datetimeFigureOut">
              <a:rPr lang="en-AU" smtClean="0"/>
              <a:t>18/05/2017</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411E8258-92FF-4027-AC43-F0E74926964A}" type="slidenum">
              <a:rPr lang="en-AU" smtClean="0"/>
              <a:t>‹#›</a:t>
            </a:fld>
            <a:endParaRPr lang="en-AU"/>
          </a:p>
        </p:txBody>
      </p:sp>
    </p:spTree>
    <p:extLst>
      <p:ext uri="{BB962C8B-B14F-4D97-AF65-F5344CB8AC3E}">
        <p14:creationId xmlns:p14="http://schemas.microsoft.com/office/powerpoint/2010/main" val="36457747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sz="half" idx="1"/>
          </p:nvPr>
        </p:nvSpPr>
        <p:spPr>
          <a:xfrm>
            <a:off x="838201" y="1825625"/>
            <a:ext cx="5181600" cy="4351338"/>
          </a:xfrm>
        </p:spPr>
        <p:txBody>
          <a:bodyPr/>
          <a:lstStyle>
            <a:lvl1pPr>
              <a:defRPr sz="27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6172200" y="1825625"/>
            <a:ext cx="5181600" cy="4351338"/>
          </a:xfrm>
        </p:spPr>
        <p:txBody>
          <a:bodyPr/>
          <a:lstStyle>
            <a:lvl1pPr>
              <a:defRPr sz="27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p:cNvSpPr>
            <a:spLocks noGrp="1"/>
          </p:cNvSpPr>
          <p:nvPr>
            <p:ph type="dt" sz="half" idx="10"/>
          </p:nvPr>
        </p:nvSpPr>
        <p:spPr/>
        <p:txBody>
          <a:bodyPr/>
          <a:lstStyle/>
          <a:p>
            <a:fld id="{69DC67D6-7801-412D-AE14-0B4F8EF13AF5}" type="datetimeFigureOut">
              <a:rPr lang="en-AU" smtClean="0"/>
              <a:t>18/05/2017</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411E8258-92FF-4027-AC43-F0E74926964A}" type="slidenum">
              <a:rPr lang="en-AU" smtClean="0"/>
              <a:t>‹#›</a:t>
            </a:fld>
            <a:endParaRPr lang="en-AU"/>
          </a:p>
        </p:txBody>
      </p:sp>
    </p:spTree>
    <p:extLst>
      <p:ext uri="{BB962C8B-B14F-4D97-AF65-F5344CB8AC3E}">
        <p14:creationId xmlns:p14="http://schemas.microsoft.com/office/powerpoint/2010/main" val="74711311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1850" y="274638"/>
            <a:ext cx="10515600" cy="1143000"/>
          </a:xfrm>
        </p:spPr>
        <p:txBody>
          <a:bodyPr/>
          <a:lstStyle/>
          <a:p>
            <a:r>
              <a:rPr lang="en-US"/>
              <a:t>Click to edit Master title style</a:t>
            </a:r>
            <a:endParaRPr lang="en-AU"/>
          </a:p>
        </p:txBody>
      </p:sp>
      <p:sp>
        <p:nvSpPr>
          <p:cNvPr id="3" name="Text Placeholder 2"/>
          <p:cNvSpPr>
            <a:spLocks noGrp="1"/>
          </p:cNvSpPr>
          <p:nvPr>
            <p:ph type="body" idx="1"/>
          </p:nvPr>
        </p:nvSpPr>
        <p:spPr>
          <a:xfrm>
            <a:off x="831850" y="1489075"/>
            <a:ext cx="5156200" cy="641350"/>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3"/>
          <p:cNvSpPr>
            <a:spLocks noGrp="1"/>
          </p:cNvSpPr>
          <p:nvPr>
            <p:ph sz="half" idx="2"/>
          </p:nvPr>
        </p:nvSpPr>
        <p:spPr>
          <a:xfrm>
            <a:off x="831850" y="2193927"/>
            <a:ext cx="5156200" cy="3978275"/>
          </a:xfrm>
        </p:spPr>
        <p:txBody>
          <a:bodyPr/>
          <a:lstStyle>
            <a:lvl1pPr>
              <a:defRPr sz="2399"/>
            </a:lvl1pPr>
            <a:lvl2pPr>
              <a:defRPr sz="1999"/>
            </a:lvl2pPr>
            <a:lvl3pPr>
              <a:defRPr sz="1799"/>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p:cNvSpPr>
            <a:spLocks noGrp="1"/>
          </p:cNvSpPr>
          <p:nvPr>
            <p:ph type="body" sz="quarter" idx="3"/>
          </p:nvPr>
        </p:nvSpPr>
        <p:spPr>
          <a:xfrm>
            <a:off x="6189664" y="1489075"/>
            <a:ext cx="5157787" cy="641350"/>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9664" y="2193927"/>
            <a:ext cx="5157787" cy="3978275"/>
          </a:xfrm>
        </p:spPr>
        <p:txBody>
          <a:bodyPr/>
          <a:lstStyle>
            <a:lvl1pPr>
              <a:defRPr sz="2399"/>
            </a:lvl1pPr>
            <a:lvl2pPr>
              <a:defRPr sz="1999"/>
            </a:lvl2pPr>
            <a:lvl3pPr>
              <a:defRPr sz="1799"/>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p:cNvSpPr>
            <a:spLocks noGrp="1"/>
          </p:cNvSpPr>
          <p:nvPr>
            <p:ph type="dt" sz="half" idx="10"/>
          </p:nvPr>
        </p:nvSpPr>
        <p:spPr/>
        <p:txBody>
          <a:bodyPr/>
          <a:lstStyle/>
          <a:p>
            <a:fld id="{69DC67D6-7801-412D-AE14-0B4F8EF13AF5}" type="datetimeFigureOut">
              <a:rPr lang="en-AU" smtClean="0"/>
              <a:t>18/05/2017</a:t>
            </a:fld>
            <a:endParaRPr lang="en-AU"/>
          </a:p>
        </p:txBody>
      </p:sp>
      <p:sp>
        <p:nvSpPr>
          <p:cNvPr id="8" name="Footer Placeholder 7"/>
          <p:cNvSpPr>
            <a:spLocks noGrp="1"/>
          </p:cNvSpPr>
          <p:nvPr>
            <p:ph type="ftr" sz="quarter" idx="11"/>
          </p:nvPr>
        </p:nvSpPr>
        <p:spPr/>
        <p:txBody>
          <a:bodyPr/>
          <a:lstStyle/>
          <a:p>
            <a:endParaRPr lang="en-AU"/>
          </a:p>
        </p:txBody>
      </p:sp>
      <p:sp>
        <p:nvSpPr>
          <p:cNvPr id="9" name="Slide Number Placeholder 8"/>
          <p:cNvSpPr>
            <a:spLocks noGrp="1"/>
          </p:cNvSpPr>
          <p:nvPr>
            <p:ph type="sldNum" sz="quarter" idx="12"/>
          </p:nvPr>
        </p:nvSpPr>
        <p:spPr/>
        <p:txBody>
          <a:bodyPr/>
          <a:lstStyle/>
          <a:p>
            <a:fld id="{411E8258-92FF-4027-AC43-F0E74926964A}" type="slidenum">
              <a:rPr lang="en-AU" smtClean="0"/>
              <a:t>‹#›</a:t>
            </a:fld>
            <a:endParaRPr lang="en-AU"/>
          </a:p>
        </p:txBody>
      </p:sp>
    </p:spTree>
    <p:extLst>
      <p:ext uri="{BB962C8B-B14F-4D97-AF65-F5344CB8AC3E}">
        <p14:creationId xmlns:p14="http://schemas.microsoft.com/office/powerpoint/2010/main" val="307747833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Date Placeholder 2"/>
          <p:cNvSpPr>
            <a:spLocks noGrp="1"/>
          </p:cNvSpPr>
          <p:nvPr>
            <p:ph type="dt" sz="half" idx="10"/>
          </p:nvPr>
        </p:nvSpPr>
        <p:spPr/>
        <p:txBody>
          <a:bodyPr/>
          <a:lstStyle/>
          <a:p>
            <a:fld id="{69DC67D6-7801-412D-AE14-0B4F8EF13AF5}" type="datetimeFigureOut">
              <a:rPr lang="en-AU" smtClean="0"/>
              <a:t>18/05/2017</a:t>
            </a:fld>
            <a:endParaRPr lang="en-AU"/>
          </a:p>
        </p:txBody>
      </p:sp>
      <p:sp>
        <p:nvSpPr>
          <p:cNvPr id="4" name="Footer Placeholder 3"/>
          <p:cNvSpPr>
            <a:spLocks noGrp="1"/>
          </p:cNvSpPr>
          <p:nvPr>
            <p:ph type="ftr" sz="quarter" idx="11"/>
          </p:nvPr>
        </p:nvSpPr>
        <p:spPr/>
        <p:txBody>
          <a:bodyPr/>
          <a:lstStyle/>
          <a:p>
            <a:endParaRPr lang="en-AU"/>
          </a:p>
        </p:txBody>
      </p:sp>
      <p:sp>
        <p:nvSpPr>
          <p:cNvPr id="5" name="Slide Number Placeholder 4"/>
          <p:cNvSpPr>
            <a:spLocks noGrp="1"/>
          </p:cNvSpPr>
          <p:nvPr>
            <p:ph type="sldNum" sz="quarter" idx="12"/>
          </p:nvPr>
        </p:nvSpPr>
        <p:spPr/>
        <p:txBody>
          <a:bodyPr/>
          <a:lstStyle/>
          <a:p>
            <a:fld id="{411E8258-92FF-4027-AC43-F0E74926964A}" type="slidenum">
              <a:rPr lang="en-AU" smtClean="0"/>
              <a:t>‹#›</a:t>
            </a:fld>
            <a:endParaRPr lang="en-AU"/>
          </a:p>
        </p:txBody>
      </p:sp>
    </p:spTree>
    <p:extLst>
      <p:ext uri="{BB962C8B-B14F-4D97-AF65-F5344CB8AC3E}">
        <p14:creationId xmlns:p14="http://schemas.microsoft.com/office/powerpoint/2010/main" val="218094622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9DC67D6-7801-412D-AE14-0B4F8EF13AF5}" type="datetimeFigureOut">
              <a:rPr lang="en-AU" smtClean="0"/>
              <a:t>18/05/2017</a:t>
            </a:fld>
            <a:endParaRPr lang="en-AU"/>
          </a:p>
        </p:txBody>
      </p:sp>
      <p:sp>
        <p:nvSpPr>
          <p:cNvPr id="3" name="Footer Placeholder 2"/>
          <p:cNvSpPr>
            <a:spLocks noGrp="1"/>
          </p:cNvSpPr>
          <p:nvPr>
            <p:ph type="ftr" sz="quarter" idx="11"/>
          </p:nvPr>
        </p:nvSpPr>
        <p:spPr/>
        <p:txBody>
          <a:bodyPr/>
          <a:lstStyle/>
          <a:p>
            <a:endParaRPr lang="en-AU"/>
          </a:p>
        </p:txBody>
      </p:sp>
      <p:sp>
        <p:nvSpPr>
          <p:cNvPr id="4" name="Slide Number Placeholder 3"/>
          <p:cNvSpPr>
            <a:spLocks noGrp="1"/>
          </p:cNvSpPr>
          <p:nvPr>
            <p:ph type="sldNum" sz="quarter" idx="12"/>
          </p:nvPr>
        </p:nvSpPr>
        <p:spPr/>
        <p:txBody>
          <a:bodyPr/>
          <a:lstStyle/>
          <a:p>
            <a:fld id="{411E8258-92FF-4027-AC43-F0E74926964A}" type="slidenum">
              <a:rPr lang="en-AU" smtClean="0"/>
              <a:t>‹#›</a:t>
            </a:fld>
            <a:endParaRPr lang="en-AU"/>
          </a:p>
        </p:txBody>
      </p:sp>
    </p:spTree>
    <p:extLst>
      <p:ext uri="{BB962C8B-B14F-4D97-AF65-F5344CB8AC3E}">
        <p14:creationId xmlns:p14="http://schemas.microsoft.com/office/powerpoint/2010/main" val="114918366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9"/>
            </a:lvl1pPr>
          </a:lstStyle>
          <a:p>
            <a:r>
              <a:rPr lang="en-US"/>
              <a:t>Click to edit Master title style</a:t>
            </a:r>
            <a:endParaRPr lang="en-AU"/>
          </a:p>
        </p:txBody>
      </p:sp>
      <p:sp>
        <p:nvSpPr>
          <p:cNvPr id="3" name="Content Placeholder 2"/>
          <p:cNvSpPr>
            <a:spLocks noGrp="1"/>
          </p:cNvSpPr>
          <p:nvPr>
            <p:ph idx="1"/>
          </p:nvPr>
        </p:nvSpPr>
        <p:spPr>
          <a:xfrm>
            <a:off x="5183188" y="987427"/>
            <a:ext cx="6172200" cy="4873625"/>
          </a:xfr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p:cNvSpPr>
            <a:spLocks noGrp="1"/>
          </p:cNvSpPr>
          <p:nvPr>
            <p:ph type="body" sz="half" idx="2"/>
          </p:nvPr>
        </p:nvSpPr>
        <p:spPr>
          <a:xfrm>
            <a:off x="839789" y="2101850"/>
            <a:ext cx="3932237" cy="3759200"/>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9DC67D6-7801-412D-AE14-0B4F8EF13AF5}" type="datetimeFigureOut">
              <a:rPr lang="en-AU" smtClean="0"/>
              <a:t>18/05/2017</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411E8258-92FF-4027-AC43-F0E74926964A}" type="slidenum">
              <a:rPr lang="en-AU" smtClean="0"/>
              <a:t>‹#›</a:t>
            </a:fld>
            <a:endParaRPr lang="en-AU"/>
          </a:p>
        </p:txBody>
      </p:sp>
    </p:spTree>
    <p:extLst>
      <p:ext uri="{BB962C8B-B14F-4D97-AF65-F5344CB8AC3E}">
        <p14:creationId xmlns:p14="http://schemas.microsoft.com/office/powerpoint/2010/main" val="370771943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9"/>
            </a:lvl1pPr>
          </a:lstStyle>
          <a:p>
            <a:r>
              <a:rPr lang="en-US"/>
              <a:t>Click to edit Master title style</a:t>
            </a:r>
            <a:endParaRPr lang="en-AU"/>
          </a:p>
        </p:txBody>
      </p:sp>
      <p:sp>
        <p:nvSpPr>
          <p:cNvPr id="3" name="Picture Placeholder 2"/>
          <p:cNvSpPr>
            <a:spLocks noGrp="1"/>
          </p:cNvSpPr>
          <p:nvPr>
            <p:ph type="pic" idx="1"/>
          </p:nvPr>
        </p:nvSpPr>
        <p:spPr>
          <a:xfrm>
            <a:off x="5183188" y="987427"/>
            <a:ext cx="6172200" cy="4873625"/>
          </a:xfrm>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endParaRPr lang="en-AU"/>
          </a:p>
        </p:txBody>
      </p:sp>
      <p:sp>
        <p:nvSpPr>
          <p:cNvPr id="4" name="Text Placeholder 3"/>
          <p:cNvSpPr>
            <a:spLocks noGrp="1"/>
          </p:cNvSpPr>
          <p:nvPr>
            <p:ph type="body" sz="half" idx="2"/>
          </p:nvPr>
        </p:nvSpPr>
        <p:spPr>
          <a:xfrm>
            <a:off x="839789" y="2101850"/>
            <a:ext cx="3932237" cy="3759200"/>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9DC67D6-7801-412D-AE14-0B4F8EF13AF5}" type="datetimeFigureOut">
              <a:rPr lang="en-AU" smtClean="0"/>
              <a:t>18/05/2017</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411E8258-92FF-4027-AC43-F0E74926964A}" type="slidenum">
              <a:rPr lang="en-AU" smtClean="0"/>
              <a:t>‹#›</a:t>
            </a:fld>
            <a:endParaRPr lang="en-AU"/>
          </a:p>
        </p:txBody>
      </p:sp>
    </p:spTree>
    <p:extLst>
      <p:ext uri="{BB962C8B-B14F-4D97-AF65-F5344CB8AC3E}">
        <p14:creationId xmlns:p14="http://schemas.microsoft.com/office/powerpoint/2010/main" val="190783672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p>
            <a:fld id="{69DC67D6-7801-412D-AE14-0B4F8EF13AF5}" type="datetimeFigureOut">
              <a:rPr lang="en-AU" smtClean="0"/>
              <a:t>18/05/2017</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411E8258-92FF-4027-AC43-F0E74926964A}" type="slidenum">
              <a:rPr lang="en-AU" smtClean="0"/>
              <a:t>‹#›</a:t>
            </a:fld>
            <a:endParaRPr lang="en-AU"/>
          </a:p>
        </p:txBody>
      </p:sp>
    </p:spTree>
    <p:extLst>
      <p:ext uri="{BB962C8B-B14F-4D97-AF65-F5344CB8AC3E}">
        <p14:creationId xmlns:p14="http://schemas.microsoft.com/office/powerpoint/2010/main" val="24447063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pt-PT"/>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E9FF321-A082-456B-A347-A910A2958839}" type="datetimeFigureOut">
              <a:rPr lang="pt-PT" smtClean="0"/>
              <a:t>18/05/2017</a:t>
            </a:fld>
            <a:endParaRPr lang="pt-PT"/>
          </a:p>
        </p:txBody>
      </p:sp>
      <p:sp>
        <p:nvSpPr>
          <p:cNvPr id="6" name="Footer Placeholder 5"/>
          <p:cNvSpPr>
            <a:spLocks noGrp="1"/>
          </p:cNvSpPr>
          <p:nvPr>
            <p:ph type="ftr" sz="quarter" idx="11"/>
          </p:nvPr>
        </p:nvSpPr>
        <p:spPr/>
        <p:txBody>
          <a:bodyPr/>
          <a:lstStyle/>
          <a:p>
            <a:endParaRPr lang="pt-PT"/>
          </a:p>
        </p:txBody>
      </p:sp>
      <p:sp>
        <p:nvSpPr>
          <p:cNvPr id="7" name="Slide Number Placeholder 6"/>
          <p:cNvSpPr>
            <a:spLocks noGrp="1"/>
          </p:cNvSpPr>
          <p:nvPr>
            <p:ph type="sldNum" sz="quarter" idx="12"/>
          </p:nvPr>
        </p:nvSpPr>
        <p:spPr/>
        <p:txBody>
          <a:bodyPr/>
          <a:lstStyle/>
          <a:p>
            <a:fld id="{CE1E2DB5-CD18-4F6E-90EB-D5152FC28B27}" type="slidenum">
              <a:rPr lang="pt-PT" smtClean="0"/>
              <a:t>‹#›</a:t>
            </a:fld>
            <a:endParaRPr lang="pt-PT"/>
          </a:p>
        </p:txBody>
      </p:sp>
    </p:spTree>
    <p:extLst>
      <p:ext uri="{BB962C8B-B14F-4D97-AF65-F5344CB8AC3E}">
        <p14:creationId xmlns:p14="http://schemas.microsoft.com/office/powerpoint/2010/main" val="378002538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AU"/>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p>
            <a:fld id="{69DC67D6-7801-412D-AE14-0B4F8EF13AF5}" type="datetimeFigureOut">
              <a:rPr lang="en-AU" smtClean="0"/>
              <a:t>18/05/2017</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411E8258-92FF-4027-AC43-F0E74926964A}" type="slidenum">
              <a:rPr lang="en-AU" smtClean="0"/>
              <a:t>‹#›</a:t>
            </a:fld>
            <a:endParaRPr lang="en-AU"/>
          </a:p>
        </p:txBody>
      </p:sp>
    </p:spTree>
    <p:extLst>
      <p:ext uri="{BB962C8B-B14F-4D97-AF65-F5344CB8AC3E}">
        <p14:creationId xmlns:p14="http://schemas.microsoft.com/office/powerpoint/2010/main" val="4745850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368091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255868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60639" y="455472"/>
            <a:ext cx="10207362" cy="1125823"/>
          </a:xfrm>
        </p:spPr>
        <p:txBody>
          <a:bodyPr anchor="ctr">
            <a:normAutofit/>
          </a:bodyPr>
          <a:lstStyle>
            <a:lvl1pPr algn="l">
              <a:defRPr sz="4799"/>
            </a:lvl1pPr>
          </a:lstStyle>
          <a:p>
            <a:r>
              <a:rPr lang="en-US" dirty="0"/>
              <a:t>Click to edit Master title style</a:t>
            </a:r>
          </a:p>
        </p:txBody>
      </p:sp>
    </p:spTree>
    <p:extLst>
      <p:ext uri="{BB962C8B-B14F-4D97-AF65-F5344CB8AC3E}">
        <p14:creationId xmlns:p14="http://schemas.microsoft.com/office/powerpoint/2010/main" val="267416758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448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pic>
        <p:nvPicPr>
          <p:cNvPr id="4" name="Picture 3"/>
          <p:cNvPicPr>
            <a:picLocks noChangeAspect="1"/>
          </p:cNvPicPr>
          <p:nvPr userDrawn="1"/>
        </p:nvPicPr>
        <p:blipFill rotWithShape="1">
          <a:blip r:embed="rId2"/>
          <a:srcRect l="8121" t="19561" r="7939" b="19345"/>
          <a:stretch/>
        </p:blipFill>
        <p:spPr>
          <a:xfrm>
            <a:off x="10941522" y="6388344"/>
            <a:ext cx="1110496" cy="339762"/>
          </a:xfrm>
          <a:prstGeom prst="rect">
            <a:avLst/>
          </a:prstGeom>
        </p:spPr>
      </p:pic>
    </p:spTree>
    <p:extLst>
      <p:ext uri="{BB962C8B-B14F-4D97-AF65-F5344CB8AC3E}">
        <p14:creationId xmlns:p14="http://schemas.microsoft.com/office/powerpoint/2010/main" val="33073838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Alternative">
    <p:bg>
      <p:bgPr>
        <a:solidFill>
          <a:schemeClr val="bg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0" cy="6858000"/>
          </a:xfrm>
          <a:prstGeom prst="rect">
            <a:avLst/>
          </a:prstGeom>
        </p:spPr>
      </p:pic>
      <p:sp>
        <p:nvSpPr>
          <p:cNvPr id="9" name="Rectangle 1"/>
          <p:cNvSpPr/>
          <p:nvPr userDrawn="1"/>
        </p:nvSpPr>
        <p:spPr bwMode="auto">
          <a:xfrm flipH="1">
            <a:off x="-3" y="0"/>
            <a:ext cx="12192002" cy="6858000"/>
          </a:xfrm>
          <a:prstGeom prst="rect">
            <a:avLst/>
          </a:prstGeom>
          <a:gradFill>
            <a:gsLst>
              <a:gs pos="40000">
                <a:srgbClr val="000000">
                  <a:alpha val="0"/>
                </a:srgbClr>
              </a:gs>
              <a:gs pos="100000">
                <a:srgbClr val="000000">
                  <a:alpha val="53000"/>
                </a:srgbClr>
              </a:gs>
            </a:gsLst>
            <a:lin ang="2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384" tIns="45692" rIns="91384" bIns="45692" numCol="1" rtlCol="0" anchor="ctr" anchorCtr="0" compatLnSpc="1">
            <a:prstTxWarp prst="textNoShape">
              <a:avLst/>
            </a:prstTxWarp>
          </a:bodyPr>
          <a:lstStyle/>
          <a:p>
            <a:pPr algn="ctr" defTabSz="913513" fontAlgn="base">
              <a:spcBef>
                <a:spcPct val="0"/>
              </a:spcBef>
              <a:spcAft>
                <a:spcPct val="0"/>
              </a:spcAft>
            </a:pPr>
            <a:endParaRPr lang="en-US" sz="2298"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a:xfrm>
            <a:off x="469122" y="2339547"/>
            <a:ext cx="8825262" cy="2837529"/>
          </a:xfr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45720" rIns="45720" bIns="72000" numCol="1" spcCol="0" rtlCol="0" fromWordArt="0" anchor="ctr" anchorCtr="0" forceAA="0" compatLnSpc="1">
            <a:prstTxWarp prst="textNoShape">
              <a:avLst/>
            </a:prstTxWarp>
            <a:noAutofit/>
          </a:bodyPr>
          <a:lstStyle>
            <a:lvl1pPr>
              <a:defRPr lang="en-US" sz="4000" baseline="0" dirty="0">
                <a:solidFill>
                  <a:srgbClr val="FFFFFF"/>
                </a:solidFill>
                <a:latin typeface="Segoe UI Light"/>
                <a:cs typeface="+mn-cs"/>
              </a:defRPr>
            </a:lvl1pPr>
          </a:lstStyle>
          <a:p>
            <a:pPr marL="0" lvl="0"/>
            <a:r>
              <a:rPr lang="en-US" dirty="0"/>
              <a:t>Speaker Name</a:t>
            </a:r>
            <a:br>
              <a:rPr lang="en-US" dirty="0"/>
            </a:br>
            <a:r>
              <a:rPr lang="en-US" dirty="0"/>
              <a:t>Session Title</a:t>
            </a:r>
          </a:p>
        </p:txBody>
      </p:sp>
    </p:spTree>
    <p:extLst>
      <p:ext uri="{BB962C8B-B14F-4D97-AF65-F5344CB8AC3E}">
        <p14:creationId xmlns:p14="http://schemas.microsoft.com/office/powerpoint/2010/main" val="26361861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85641471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lumMod val="85000"/>
                    <a:lumOff val="15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a:t>Click to edit Master subtitle style</a:t>
            </a:r>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rgbClr val="00B0F0"/>
                </a:soli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Edit Master text styles</a:t>
            </a:r>
          </a:p>
        </p:txBody>
      </p:sp>
      <p:pic>
        <p:nvPicPr>
          <p:cNvPr id="4" name="Picture 3"/>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0941523" y="6386960"/>
            <a:ext cx="1110496" cy="360000"/>
          </a:xfrm>
          <a:prstGeom prst="rect">
            <a:avLst/>
          </a:prstGeom>
        </p:spPr>
      </p:pic>
    </p:spTree>
    <p:extLst>
      <p:ext uri="{BB962C8B-B14F-4D97-AF65-F5344CB8AC3E}">
        <p14:creationId xmlns:p14="http://schemas.microsoft.com/office/powerpoint/2010/main" val="42422233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solidFill>
                  <a:schemeClr val="tx1">
                    <a:lumMod val="75000"/>
                    <a:lumOff val="25000"/>
                  </a:schemeClr>
                </a:solidFill>
              </a:defRPr>
            </a:lvl2pPr>
            <a:lvl3pPr marL="231775" indent="0">
              <a:buNone/>
              <a:defRPr sz="2000">
                <a:solidFill>
                  <a:schemeClr val="tx1">
                    <a:lumMod val="75000"/>
                    <a:lumOff val="25000"/>
                  </a:schemeClr>
                </a:solidFill>
              </a:defRPr>
            </a:lvl3pPr>
            <a:lvl4pPr marL="457200" indent="0">
              <a:buNone/>
              <a:defRPr sz="2000">
                <a:solidFill>
                  <a:schemeClr val="tx1">
                    <a:lumMod val="75000"/>
                    <a:lumOff val="25000"/>
                  </a:schemeClr>
                </a:solidFill>
              </a:defRPr>
            </a:lvl4pPr>
            <a:lvl5pPr marL="693738" indent="0">
              <a:buNone/>
              <a:defRPr sz="2000">
                <a:solidFill>
                  <a:schemeClr val="tx1">
                    <a:lumMod val="75000"/>
                    <a:lumOff val="25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pic>
        <p:nvPicPr>
          <p:cNvPr id="6" name="Picture 5"/>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0941523" y="6386960"/>
            <a:ext cx="1110496" cy="360000"/>
          </a:xfrm>
          <a:prstGeom prst="rect">
            <a:avLst/>
          </a:prstGeom>
        </p:spPr>
      </p:pic>
    </p:spTree>
    <p:extLst>
      <p:ext uri="{BB962C8B-B14F-4D97-AF65-F5344CB8AC3E}">
        <p14:creationId xmlns:p14="http://schemas.microsoft.com/office/powerpoint/2010/main" val="217394317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pt-PT"/>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PT"/>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E9FF321-A082-456B-A347-A910A2958839}" type="datetimeFigureOut">
              <a:rPr lang="pt-PT" smtClean="0"/>
              <a:t>18/05/2017</a:t>
            </a:fld>
            <a:endParaRPr lang="pt-PT"/>
          </a:p>
        </p:txBody>
      </p:sp>
      <p:sp>
        <p:nvSpPr>
          <p:cNvPr id="6" name="Footer Placeholder 5"/>
          <p:cNvSpPr>
            <a:spLocks noGrp="1"/>
          </p:cNvSpPr>
          <p:nvPr>
            <p:ph type="ftr" sz="quarter" idx="11"/>
          </p:nvPr>
        </p:nvSpPr>
        <p:spPr/>
        <p:txBody>
          <a:bodyPr/>
          <a:lstStyle/>
          <a:p>
            <a:endParaRPr lang="pt-PT"/>
          </a:p>
        </p:txBody>
      </p:sp>
      <p:sp>
        <p:nvSpPr>
          <p:cNvPr id="7" name="Slide Number Placeholder 6"/>
          <p:cNvSpPr>
            <a:spLocks noGrp="1"/>
          </p:cNvSpPr>
          <p:nvPr>
            <p:ph type="sldNum" sz="quarter" idx="12"/>
          </p:nvPr>
        </p:nvSpPr>
        <p:spPr/>
        <p:txBody>
          <a:bodyPr/>
          <a:lstStyle/>
          <a:p>
            <a:fld id="{CE1E2DB5-CD18-4F6E-90EB-D5152FC28B27}" type="slidenum">
              <a:rPr lang="pt-PT" smtClean="0"/>
              <a:t>‹#›</a:t>
            </a:fld>
            <a:endParaRPr lang="pt-PT"/>
          </a:p>
        </p:txBody>
      </p:sp>
    </p:spTree>
    <p:extLst>
      <p:ext uri="{BB962C8B-B14F-4D97-AF65-F5344CB8AC3E}">
        <p14:creationId xmlns:p14="http://schemas.microsoft.com/office/powerpoint/2010/main" val="117969521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solidFill>
                  <a:schemeClr val="tx1">
                    <a:lumMod val="75000"/>
                    <a:lumOff val="25000"/>
                  </a:schemeClr>
                </a:solidFill>
                <a:latin typeface="+mj-lt"/>
              </a:defRPr>
            </a:lvl1pPr>
            <a:lvl2pPr marL="0" indent="0">
              <a:buNone/>
              <a:defRPr sz="2000">
                <a:solidFill>
                  <a:schemeClr val="tx1">
                    <a:lumMod val="75000"/>
                    <a:lumOff val="25000"/>
                  </a:schemeClr>
                </a:solidFill>
              </a:defRPr>
            </a:lvl2pPr>
            <a:lvl3pPr marL="231775" indent="0">
              <a:buNone/>
              <a:defRPr sz="2000">
                <a:solidFill>
                  <a:schemeClr val="tx1">
                    <a:lumMod val="75000"/>
                    <a:lumOff val="25000"/>
                  </a:schemeClr>
                </a:solidFill>
              </a:defRPr>
            </a:lvl3pPr>
            <a:lvl4pPr marL="457200" indent="0">
              <a:buNone/>
              <a:defRPr sz="2000">
                <a:solidFill>
                  <a:schemeClr val="tx1">
                    <a:lumMod val="75000"/>
                    <a:lumOff val="25000"/>
                  </a:schemeClr>
                </a:solidFill>
              </a:defRPr>
            </a:lvl4pPr>
            <a:lvl5pPr marL="693738" indent="0">
              <a:buNone/>
              <a:defRPr sz="2000">
                <a:solidFill>
                  <a:schemeClr val="tx1">
                    <a:lumMod val="75000"/>
                    <a:lumOff val="25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pic>
        <p:nvPicPr>
          <p:cNvPr id="6" name="Picture 5"/>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0941523" y="6386960"/>
            <a:ext cx="1110496" cy="360000"/>
          </a:xfrm>
          <a:prstGeom prst="rect">
            <a:avLst/>
          </a:prstGeom>
        </p:spPr>
      </p:pic>
    </p:spTree>
    <p:extLst>
      <p:ext uri="{BB962C8B-B14F-4D97-AF65-F5344CB8AC3E}">
        <p14:creationId xmlns:p14="http://schemas.microsoft.com/office/powerpoint/2010/main" val="3947406213"/>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0941523" y="6386960"/>
            <a:ext cx="1110496" cy="360000"/>
          </a:xfrm>
          <a:prstGeom prst="rect">
            <a:avLst/>
          </a:prstGeom>
        </p:spPr>
      </p:pic>
    </p:spTree>
    <p:extLst>
      <p:ext uri="{BB962C8B-B14F-4D97-AF65-F5344CB8AC3E}">
        <p14:creationId xmlns:p14="http://schemas.microsoft.com/office/powerpoint/2010/main" val="317102594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tx1">
                    <a:lumMod val="75000"/>
                    <a:lumOff val="25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tx1">
                    <a:lumMod val="75000"/>
                    <a:lumOff val="25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tx1">
                    <a:lumMod val="75000"/>
                    <a:lumOff val="25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solidFill>
                  <a:schemeClr val="tx1">
                    <a:lumMod val="75000"/>
                    <a:lumOff val="25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pic>
        <p:nvPicPr>
          <p:cNvPr id="7" name="Picture 6"/>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0941523" y="6386960"/>
            <a:ext cx="1110496" cy="360000"/>
          </a:xfrm>
          <a:prstGeom prst="rect">
            <a:avLst/>
          </a:prstGeom>
        </p:spPr>
      </p:pic>
    </p:spTree>
    <p:extLst>
      <p:ext uri="{BB962C8B-B14F-4D97-AF65-F5344CB8AC3E}">
        <p14:creationId xmlns:p14="http://schemas.microsoft.com/office/powerpoint/2010/main" val="281058463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lumMod val="75000"/>
                    <a:lumOff val="25000"/>
                  </a:schemeClr>
                </a:solidFill>
                <a:latin typeface="+mj-lt"/>
              </a:defRPr>
            </a:lvl1pPr>
            <a:lvl2pPr marL="0" indent="0">
              <a:buNone/>
              <a:defRPr sz="2000">
                <a:solidFill>
                  <a:schemeClr val="tx1">
                    <a:lumMod val="75000"/>
                    <a:lumOff val="25000"/>
                  </a:schemeClr>
                </a:solidFill>
              </a:defRPr>
            </a:lvl2pPr>
            <a:lvl3pPr marL="233363" indent="0">
              <a:buNone/>
              <a:defRPr sz="2000">
                <a:solidFill>
                  <a:schemeClr val="tx1">
                    <a:lumMod val="75000"/>
                    <a:lumOff val="25000"/>
                  </a:schemeClr>
                </a:solidFill>
              </a:defRPr>
            </a:lvl3pPr>
            <a:lvl4pPr marL="457200" indent="0">
              <a:buNone/>
              <a:defRPr sz="2000">
                <a:solidFill>
                  <a:schemeClr val="tx1">
                    <a:lumMod val="75000"/>
                    <a:lumOff val="25000"/>
                  </a:schemeClr>
                </a:solidFill>
              </a:defRPr>
            </a:lvl4pPr>
            <a:lvl5pPr marL="693738" indent="0">
              <a:buNone/>
              <a:defRPr sz="2000">
                <a:solidFill>
                  <a:schemeClr val="tx1">
                    <a:lumMod val="75000"/>
                    <a:lumOff val="25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lumMod val="75000"/>
                    <a:lumOff val="25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tx1">
                    <a:lumMod val="75000"/>
                    <a:lumOff val="25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tx1">
                    <a:lumMod val="75000"/>
                    <a:lumOff val="25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tx1">
                    <a:lumMod val="75000"/>
                    <a:lumOff val="25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solidFill>
                  <a:schemeClr val="tx1">
                    <a:lumMod val="75000"/>
                    <a:lumOff val="25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0941523" y="6386960"/>
            <a:ext cx="1110496" cy="360000"/>
          </a:xfrm>
          <a:prstGeom prst="rect">
            <a:avLst/>
          </a:prstGeom>
        </p:spPr>
      </p:pic>
    </p:spTree>
    <p:extLst>
      <p:ext uri="{BB962C8B-B14F-4D97-AF65-F5344CB8AC3E}">
        <p14:creationId xmlns:p14="http://schemas.microsoft.com/office/powerpoint/2010/main" val="244375220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1852815"/>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solidFill>
                  <a:schemeClr val="tx1">
                    <a:lumMod val="75000"/>
                    <a:lumOff val="25000"/>
                  </a:schemeClr>
                </a:soli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6279563" y="1447801"/>
            <a:ext cx="5396365" cy="2222147"/>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solidFill>
                  <a:schemeClr val="tx1">
                    <a:lumMod val="75000"/>
                    <a:lumOff val="25000"/>
                  </a:schemeClr>
                </a:solidFill>
                <a:latin typeface="+mj-lt"/>
                <a:ea typeface="+mn-ea"/>
                <a:cs typeface="+mn-cs"/>
              </a:defRPr>
            </a:lvl1pPr>
            <a:lvl2pPr marL="635000" indent="-342900">
              <a:defRPr lang="en-US" sz="2000" kern="1200" spc="0" baseline="0" dirty="0" smtClean="0">
                <a:solidFill>
                  <a:schemeClr val="tx1">
                    <a:lumMod val="75000"/>
                    <a:lumOff val="25000"/>
                  </a:schemeClr>
                </a:solidFill>
                <a:latin typeface="+mn-lt"/>
                <a:ea typeface="+mn-ea"/>
                <a:cs typeface="+mn-cs"/>
              </a:defRPr>
            </a:lvl2pPr>
            <a:lvl3pPr marL="863600" indent="-342900">
              <a:defRPr lang="en-US" sz="2000" kern="1200" spc="0" baseline="0" dirty="0" smtClean="0">
                <a:solidFill>
                  <a:schemeClr val="tx1">
                    <a:lumMod val="75000"/>
                    <a:lumOff val="25000"/>
                  </a:schemeClr>
                </a:solidFill>
                <a:latin typeface="+mn-lt"/>
                <a:ea typeface="+mn-ea"/>
                <a:cs typeface="+mn-cs"/>
              </a:defRPr>
            </a:lvl3pPr>
            <a:lvl4pPr marL="1028700" indent="-342900">
              <a:defRPr lang="en-US" sz="2000" kern="1200" spc="0" baseline="0" dirty="0" smtClean="0">
                <a:solidFill>
                  <a:schemeClr val="tx1">
                    <a:lumMod val="75000"/>
                    <a:lumOff val="25000"/>
                  </a:schemeClr>
                </a:solidFill>
                <a:latin typeface="+mn-lt"/>
                <a:ea typeface="+mn-ea"/>
                <a:cs typeface="+mn-cs"/>
              </a:defRPr>
            </a:lvl4pPr>
            <a:lvl5pPr marL="1206500" indent="-342900">
              <a:defRPr lang="en-US" sz="2000" kern="1200" spc="0" baseline="0" dirty="0">
                <a:solidFill>
                  <a:schemeClr val="tx1">
                    <a:lumMod val="75000"/>
                    <a:lumOff val="25000"/>
                  </a:schemeClr>
                </a:soli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dirty="0"/>
              <a:t>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dirty="0"/>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dirty="0"/>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dirty="0"/>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dirty="0"/>
              <a:t>Fifth level</a:t>
            </a:r>
          </a:p>
        </p:txBody>
      </p:sp>
      <p:pic>
        <p:nvPicPr>
          <p:cNvPr id="6" name="Picture 5"/>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0941523" y="6386960"/>
            <a:ext cx="1110496" cy="360000"/>
          </a:xfrm>
          <a:prstGeom prst="rect">
            <a:avLst/>
          </a:prstGeom>
        </p:spPr>
      </p:pic>
    </p:spTree>
    <p:extLst>
      <p:ext uri="{BB962C8B-B14F-4D97-AF65-F5344CB8AC3E}">
        <p14:creationId xmlns:p14="http://schemas.microsoft.com/office/powerpoint/2010/main" val="314731492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solidFill>
                  <a:schemeClr val="tx1">
                    <a:lumMod val="75000"/>
                    <a:lumOff val="25000"/>
                  </a:schemeClr>
                </a:soli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dirty="0"/>
              <a:t>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pic>
        <p:nvPicPr>
          <p:cNvPr id="7" name="Picture 6"/>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0941523" y="6386960"/>
            <a:ext cx="1110496" cy="360000"/>
          </a:xfrm>
          <a:prstGeom prst="rect">
            <a:avLst/>
          </a:prstGeom>
        </p:spPr>
      </p:pic>
    </p:spTree>
    <p:extLst>
      <p:ext uri="{BB962C8B-B14F-4D97-AF65-F5344CB8AC3E}">
        <p14:creationId xmlns:p14="http://schemas.microsoft.com/office/powerpoint/2010/main" val="305575750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solidFill>
                  <a:schemeClr val="tx1">
                    <a:lumMod val="75000"/>
                    <a:lumOff val="25000"/>
                  </a:schemeClr>
                </a:soli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dirty="0"/>
              <a:t>Edit Master text styles</a:t>
            </a:r>
          </a:p>
        </p:txBody>
      </p:sp>
      <p:pic>
        <p:nvPicPr>
          <p:cNvPr id="6" name="Picture 5"/>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0941523" y="6386960"/>
            <a:ext cx="1110496" cy="360000"/>
          </a:xfrm>
          <a:prstGeom prst="rect">
            <a:avLst/>
          </a:prstGeom>
        </p:spPr>
      </p:pic>
    </p:spTree>
    <p:extLst>
      <p:ext uri="{BB962C8B-B14F-4D97-AF65-F5344CB8AC3E}">
        <p14:creationId xmlns:p14="http://schemas.microsoft.com/office/powerpoint/2010/main" val="244054203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solidFill>
                  <a:schemeClr val="tx1">
                    <a:lumMod val="75000"/>
                    <a:lumOff val="25000"/>
                  </a:schemeClr>
                </a:soli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dirty="0"/>
              <a:t>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pic>
        <p:nvPicPr>
          <p:cNvPr id="6" name="Picture 5"/>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0941523" y="6386960"/>
            <a:ext cx="1110496" cy="360000"/>
          </a:xfrm>
          <a:prstGeom prst="rect">
            <a:avLst/>
          </a:prstGeom>
        </p:spPr>
      </p:pic>
    </p:spTree>
    <p:extLst>
      <p:ext uri="{BB962C8B-B14F-4D97-AF65-F5344CB8AC3E}">
        <p14:creationId xmlns:p14="http://schemas.microsoft.com/office/powerpoint/2010/main" val="366582341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7" y="0"/>
            <a:ext cx="598802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solidFill>
                  <a:schemeClr val="tx1">
                    <a:lumMod val="75000"/>
                    <a:lumOff val="25000"/>
                  </a:schemeClr>
                </a:soli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dirty="0"/>
              <a:t>Edit Master text styles</a:t>
            </a:r>
          </a:p>
        </p:txBody>
      </p:sp>
      <p:pic>
        <p:nvPicPr>
          <p:cNvPr id="8" name="Picture 7"/>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0941523" y="6386960"/>
            <a:ext cx="1110496" cy="360000"/>
          </a:xfrm>
          <a:prstGeom prst="rect">
            <a:avLst/>
          </a:prstGeom>
        </p:spPr>
      </p:pic>
    </p:spTree>
    <p:extLst>
      <p:ext uri="{BB962C8B-B14F-4D97-AF65-F5344CB8AC3E}">
        <p14:creationId xmlns:p14="http://schemas.microsoft.com/office/powerpoint/2010/main" val="345148679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
        <p:nvSpPr>
          <p:cNvPr id="7" name="Rectangle 6"/>
          <p:cNvSpPr/>
          <p:nvPr userDrawn="1"/>
        </p:nvSpPr>
        <p:spPr bwMode="white">
          <a:xfrm>
            <a:off x="1"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pic>
        <p:nvPicPr>
          <p:cNvPr id="8" name="Picture 7"/>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0941523" y="6386960"/>
            <a:ext cx="1110496" cy="360000"/>
          </a:xfrm>
          <a:prstGeom prst="rect">
            <a:avLst/>
          </a:prstGeom>
        </p:spPr>
      </p:pic>
    </p:spTree>
    <p:extLst>
      <p:ext uri="{BB962C8B-B14F-4D97-AF65-F5344CB8AC3E}">
        <p14:creationId xmlns:p14="http://schemas.microsoft.com/office/powerpoint/2010/main" val="25132760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2" Type="http://schemas.openxmlformats.org/officeDocument/2006/relationships/slideLayout" Target="../slideLayouts/slideLayout71.xml"/><Relationship Id="rId16" Type="http://schemas.openxmlformats.org/officeDocument/2006/relationships/theme" Target="../theme/theme4.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3" Type="http://schemas.openxmlformats.org/officeDocument/2006/relationships/slideLayout" Target="../slideLayouts/slideLayout116.xml"/><Relationship Id="rId21" Type="http://schemas.openxmlformats.org/officeDocument/2006/relationships/theme" Target="../theme/theme6.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26" Type="http://schemas.openxmlformats.org/officeDocument/2006/relationships/slideLayout" Target="../slideLayouts/slideLayout159.xml"/><Relationship Id="rId3" Type="http://schemas.openxmlformats.org/officeDocument/2006/relationships/slideLayout" Target="../slideLayouts/slideLayout136.xml"/><Relationship Id="rId21" Type="http://schemas.openxmlformats.org/officeDocument/2006/relationships/slideLayout" Target="../slideLayouts/slideLayout154.xml"/><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5" Type="http://schemas.openxmlformats.org/officeDocument/2006/relationships/slideLayout" Target="../slideLayouts/slideLayout158.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slideLayout" Target="../slideLayouts/slideLayout153.xml"/><Relationship Id="rId29" Type="http://schemas.openxmlformats.org/officeDocument/2006/relationships/slideLayout" Target="../slideLayouts/slideLayout162.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24" Type="http://schemas.openxmlformats.org/officeDocument/2006/relationships/slideLayout" Target="../slideLayouts/slideLayout157.x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23" Type="http://schemas.openxmlformats.org/officeDocument/2006/relationships/slideLayout" Target="../slideLayouts/slideLayout156.xml"/><Relationship Id="rId28" Type="http://schemas.openxmlformats.org/officeDocument/2006/relationships/slideLayout" Target="../slideLayouts/slideLayout161.xml"/><Relationship Id="rId10" Type="http://schemas.openxmlformats.org/officeDocument/2006/relationships/slideLayout" Target="../slideLayouts/slideLayout143.xml"/><Relationship Id="rId19" Type="http://schemas.openxmlformats.org/officeDocument/2006/relationships/slideLayout" Target="../slideLayouts/slideLayout152.xml"/><Relationship Id="rId31" Type="http://schemas.openxmlformats.org/officeDocument/2006/relationships/theme" Target="../theme/theme7.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slideLayout" Target="../slideLayouts/slideLayout155.xml"/><Relationship Id="rId27" Type="http://schemas.openxmlformats.org/officeDocument/2006/relationships/slideLayout" Target="../slideLayouts/slideLayout160.xml"/><Relationship Id="rId30" Type="http://schemas.openxmlformats.org/officeDocument/2006/relationships/slideLayout" Target="../slideLayouts/slideLayout16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alphaModFix amt="25000"/>
            <a:lum/>
          </a:blip>
          <a:srcRect/>
          <a:stretch>
            <a:fillRect t="-9000" b="-9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pt-PT"/>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E9FF321-A082-456B-A347-A910A2958839}" type="datetimeFigureOut">
              <a:rPr lang="pt-PT" smtClean="0"/>
              <a:t>18/05/2017</a:t>
            </a:fld>
            <a:endParaRPr lang="pt-PT"/>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PT"/>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1E2DB5-CD18-4F6E-90EB-D5152FC28B27}" type="slidenum">
              <a:rPr lang="pt-PT" smtClean="0"/>
              <a:t>‹#›</a:t>
            </a:fld>
            <a:endParaRPr lang="pt-PT"/>
          </a:p>
        </p:txBody>
      </p:sp>
    </p:spTree>
    <p:extLst>
      <p:ext uri="{BB962C8B-B14F-4D97-AF65-F5344CB8AC3E}">
        <p14:creationId xmlns:p14="http://schemas.microsoft.com/office/powerpoint/2010/main" val="327660765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406941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803665"/>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Lst>
  <p:transition>
    <p:fade/>
  </p:transition>
  <p:txStyles>
    <p:titleStyle>
      <a:lvl1pPr algn="l" defTabSz="914093"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7"/>
            <a:ext cx="10515600"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2"/>
          </p:nvPr>
        </p:nvSpPr>
        <p:spPr>
          <a:xfrm>
            <a:off x="838201" y="6356352"/>
            <a:ext cx="3276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9DC67D6-7801-412D-AE14-0B4F8EF13AF5}" type="datetimeFigureOut">
              <a:rPr lang="en-AU" smtClean="0"/>
              <a:t>18/05/2017</a:t>
            </a:fld>
            <a:endParaRPr lang="en-AU"/>
          </a:p>
        </p:txBody>
      </p:sp>
      <p:sp>
        <p:nvSpPr>
          <p:cNvPr id="5" name="Footer Placeholder 4"/>
          <p:cNvSpPr>
            <a:spLocks noGrp="1"/>
          </p:cNvSpPr>
          <p:nvPr>
            <p:ph type="ftr" sz="quarter" idx="3"/>
          </p:nvPr>
        </p:nvSpPr>
        <p:spPr>
          <a:xfrm>
            <a:off x="4648201"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AU"/>
          </a:p>
        </p:txBody>
      </p:sp>
      <p:sp>
        <p:nvSpPr>
          <p:cNvPr id="6" name="Slide Number Placeholder 5"/>
          <p:cNvSpPr>
            <a:spLocks noGrp="1"/>
          </p:cNvSpPr>
          <p:nvPr>
            <p:ph type="sldNum" sz="quarter" idx="4"/>
          </p:nvPr>
        </p:nvSpPr>
        <p:spPr>
          <a:xfrm>
            <a:off x="8077200" y="6356352"/>
            <a:ext cx="3276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11E8258-92FF-4027-AC43-F0E74926964A}" type="slidenum">
              <a:rPr lang="en-AU" smtClean="0"/>
              <a:t>‹#›</a:t>
            </a:fld>
            <a:endParaRPr lang="en-AU"/>
          </a:p>
        </p:txBody>
      </p:sp>
    </p:spTree>
    <p:extLst>
      <p:ext uri="{BB962C8B-B14F-4D97-AF65-F5344CB8AC3E}">
        <p14:creationId xmlns:p14="http://schemas.microsoft.com/office/powerpoint/2010/main" val="95809385"/>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Lst>
  <p:txStyles>
    <p:titleStyle>
      <a:lvl1pPr algn="l" defTabSz="914126" rtl="0" eaLnBrk="1" latinLnBrk="0" hangingPunct="1">
        <a:spcBef>
          <a:spcPct val="0"/>
        </a:spcBef>
        <a:buNone/>
        <a:defRPr sz="43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ct val="30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ct val="300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ct val="300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ct val="300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ct val="300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ct val="300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ct val="300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ct val="300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ct val="300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01142219"/>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 id="2147483761" r:id="rId25"/>
    <p:sldLayoutId id="2147483762" r:id="rId26"/>
    <p:sldLayoutId id="2147483763" r:id="rId27"/>
    <p:sldLayoutId id="2147483764" r:id="rId28"/>
    <p:sldLayoutId id="2147483765" r:id="rId29"/>
  </p:sldLayoutIdLst>
  <p:transition>
    <p:fade/>
  </p:transition>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solidFill>
            <a:srgbClr val="00B0F0"/>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solidFill>
            <a:schemeClr val="tx1">
              <a:lumMod val="75000"/>
              <a:lumOff val="25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lumMod val="75000"/>
              <a:lumOff val="25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lumMod val="75000"/>
              <a:lumOff val="25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lumMod val="75000"/>
              <a:lumOff val="25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lumMod val="75000"/>
              <a:lumOff val="25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marL="336044" marR="0" lvl="0" indent="-336044" algn="l" defTabSz="914093"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72519" marR="0" lvl="1" indent="-236475" algn="l" defTabSz="914093"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42" name="Group 41"/>
          <p:cNvGrpSpPr/>
          <p:nvPr userDrawn="1"/>
        </p:nvGrpSpPr>
        <p:grpSpPr>
          <a:xfrm>
            <a:off x="12370907" y="-217"/>
            <a:ext cx="935477" cy="5654618"/>
            <a:chOff x="12618967" y="-221"/>
            <a:chExt cx="954235" cy="5767186"/>
          </a:xfrm>
        </p:grpSpPr>
        <p:grpSp>
          <p:nvGrpSpPr>
            <p:cNvPr id="43" name="Group 42"/>
            <p:cNvGrpSpPr/>
            <p:nvPr userDrawn="1"/>
          </p:nvGrpSpPr>
          <p:grpSpPr>
            <a:xfrm rot="5400000">
              <a:off x="11582059" y="1045293"/>
              <a:ext cx="2703052" cy="629236"/>
              <a:chOff x="1586734" y="4543426"/>
              <a:chExt cx="2703052" cy="629236"/>
            </a:xfrm>
          </p:grpSpPr>
          <p:sp>
            <p:nvSpPr>
              <p:cNvPr id="50" name="Rectangle 49"/>
              <p:cNvSpPr/>
              <p:nvPr userDrawn="1"/>
            </p:nvSpPr>
            <p:spPr bwMode="auto">
              <a:xfrm>
                <a:off x="2505456" y="4543427"/>
                <a:ext cx="869930" cy="28976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3828"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defTabSz="913828"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51" name="Rectangle 50"/>
              <p:cNvSpPr/>
              <p:nvPr userDrawn="1"/>
            </p:nvSpPr>
            <p:spPr bwMode="auto">
              <a:xfrm>
                <a:off x="1586734" y="4543428"/>
                <a:ext cx="869930" cy="289766"/>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3828"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Cyan</a:t>
                </a:r>
              </a:p>
              <a:p>
                <a:pPr marL="0" marR="0" lvl="0" indent="0" defTabSz="913828"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R:0 G:188 B:242</a:t>
                </a:r>
              </a:p>
            </p:txBody>
          </p:sp>
          <p:sp>
            <p:nvSpPr>
              <p:cNvPr id="52" name="Rectangle 51"/>
              <p:cNvSpPr/>
              <p:nvPr userDrawn="1"/>
            </p:nvSpPr>
            <p:spPr bwMode="auto">
              <a:xfrm>
                <a:off x="1586734" y="4882896"/>
                <a:ext cx="869930" cy="289766"/>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3828"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defTabSz="913828"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53" name="Rectangle 52"/>
              <p:cNvSpPr/>
              <p:nvPr userDrawn="1"/>
            </p:nvSpPr>
            <p:spPr bwMode="auto">
              <a:xfrm>
                <a:off x="3419856" y="4543426"/>
                <a:ext cx="869930" cy="289766"/>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3828"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defTabSz="913828"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54" name="Rectangle 53"/>
              <p:cNvSpPr/>
              <p:nvPr userDrawn="1"/>
            </p:nvSpPr>
            <p:spPr bwMode="auto">
              <a:xfrm>
                <a:off x="3413144" y="4882896"/>
                <a:ext cx="869930" cy="289766"/>
              </a:xfrm>
              <a:prstGeom prst="rect">
                <a:avLst/>
              </a:prstGeom>
              <a:solidFill>
                <a:srgbClr val="32323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3828"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defTabSz="913828"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50 G:50 B:50</a:t>
                </a:r>
              </a:p>
            </p:txBody>
          </p:sp>
          <p:sp>
            <p:nvSpPr>
              <p:cNvPr id="55" name="Rectangle 54"/>
              <p:cNvSpPr/>
              <p:nvPr userDrawn="1"/>
            </p:nvSpPr>
            <p:spPr bwMode="auto">
              <a:xfrm>
                <a:off x="2505456" y="4882895"/>
                <a:ext cx="869930" cy="289766"/>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3828"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defTabSz="913828"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44" name="Group 43"/>
            <p:cNvGrpSpPr/>
            <p:nvPr userDrawn="1"/>
          </p:nvGrpSpPr>
          <p:grpSpPr>
            <a:xfrm rot="5400000">
              <a:off x="11412325" y="4270556"/>
              <a:ext cx="2703052" cy="289766"/>
              <a:chOff x="4476564" y="4543426"/>
              <a:chExt cx="2703052" cy="289766"/>
            </a:xfrm>
          </p:grpSpPr>
          <p:sp>
            <p:nvSpPr>
              <p:cNvPr id="47" name="Rectangle 46"/>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lvl="0" defTabSz="913828" fontAlgn="base">
                  <a:lnSpc>
                    <a:spcPct val="100000"/>
                  </a:lnSpc>
                  <a:spcBef>
                    <a:spcPct val="0"/>
                  </a:spcBef>
                  <a:spcAft>
                    <a:spcPct val="0"/>
                  </a:spcAft>
                </a:pPr>
                <a:r>
                  <a:rPr lang="en-US" sz="490" b="1" baseline="0" noProof="0" dirty="0">
                    <a:gradFill>
                      <a:gsLst>
                        <a:gs pos="0">
                          <a:srgbClr val="FFFFFF"/>
                        </a:gs>
                        <a:gs pos="100000">
                          <a:srgbClr val="FFFFFF"/>
                        </a:gs>
                      </a:gsLst>
                      <a:lin ang="5400000" scaled="0"/>
                    </a:gradFill>
                    <a:ea typeface="Segoe UI" pitchFamily="34" charset="0"/>
                    <a:cs typeface="Segoe UI" pitchFamily="34" charset="0"/>
                  </a:rPr>
                  <a:t>Purple</a:t>
                </a:r>
              </a:p>
              <a:p>
                <a:pPr lvl="0" defTabSz="913828" fontAlgn="base">
                  <a:lnSpc>
                    <a:spcPct val="100000"/>
                  </a:lnSpc>
                  <a:spcBef>
                    <a:spcPct val="0"/>
                  </a:spcBef>
                  <a:spcAft>
                    <a:spcPct val="0"/>
                  </a:spcAft>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48" name="Rectangle 47"/>
              <p:cNvSpPr/>
              <p:nvPr userDrawn="1"/>
            </p:nvSpPr>
            <p:spPr bwMode="auto">
              <a:xfrm>
                <a:off x="6309686" y="4543426"/>
                <a:ext cx="869930" cy="289766"/>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3828"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defTabSz="913828"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49" name="Rectangle 48"/>
              <p:cNvSpPr/>
              <p:nvPr userDrawn="1"/>
            </p:nvSpPr>
            <p:spPr bwMode="auto">
              <a:xfrm>
                <a:off x="4476564" y="4543426"/>
                <a:ext cx="869930" cy="289766"/>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3828"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defTabSz="913828"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45" name="TextBox 44"/>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defTabSz="896117"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Main colors</a:t>
              </a:r>
            </a:p>
          </p:txBody>
        </p:sp>
        <p:sp>
          <p:nvSpPr>
            <p:cNvPr id="46" name="TextBox 45"/>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defTabSz="896117"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Secondary colors (use only when necessary)</a:t>
              </a:r>
            </a:p>
          </p:txBody>
        </p:sp>
      </p:grpSp>
    </p:spTree>
    <p:extLst>
      <p:ext uri="{BB962C8B-B14F-4D97-AF65-F5344CB8AC3E}">
        <p14:creationId xmlns:p14="http://schemas.microsoft.com/office/powerpoint/2010/main" val="3511136458"/>
      </p:ext>
    </p:extLst>
  </p:cSld>
  <p:clrMap bg1="dk1" tx1="lt1" bg2="dk2" tx2="lt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 id="2147483780" r:id="rId14"/>
    <p:sldLayoutId id="2147483781" r:id="rId15"/>
    <p:sldLayoutId id="2147483782" r:id="rId16"/>
    <p:sldLayoutId id="2147483783" r:id="rId17"/>
    <p:sldLayoutId id="2147483784" r:id="rId18"/>
    <p:sldLayoutId id="2147483785" r:id="rId19"/>
    <p:sldLayoutId id="2147483786" r:id="rId20"/>
  </p:sldLayoutIdLst>
  <p:transition>
    <p:fade/>
  </p:transition>
  <p:txStyles>
    <p:titleStyle>
      <a:lvl1pPr algn="l" defTabSz="914093"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Tx/>
        <a:buSzPct val="90000"/>
        <a:buFont typeface="Arial" pitchFamily="34" charset="0"/>
        <a:buChar char="•"/>
        <a:tabLst/>
        <a:defRPr lang="en-US" sz="3920" kern="1200" spc="0" baseline="0" dirty="0" smtClean="0">
          <a:gradFill>
            <a:gsLst>
              <a:gs pos="1250">
                <a:schemeClr val="tx1"/>
              </a:gs>
              <a:gs pos="100000">
                <a:schemeClr val="tx1"/>
              </a:gs>
            </a:gsLst>
            <a:lin ang="5400000" scaled="0"/>
          </a:gra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Tx/>
        <a:buSzPct val="90000"/>
        <a:buFont typeface="Arial" pitchFamily="34" charset="0"/>
        <a:buChar char="•"/>
        <a:tabLst/>
        <a:defRPr lang="en-US" sz="2352"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103"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132"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161"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92"/>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3"/>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543">
              <a:defRPr/>
            </a:pPr>
            <a:endParaRPr lang="en-US" dirty="0">
              <a:solidFill>
                <a:srgbClr val="505050"/>
              </a:solidFill>
            </a:endParaRPr>
          </a:p>
        </p:txBody>
      </p:sp>
      <p:sp>
        <p:nvSpPr>
          <p:cNvPr id="15" name="Text Placeholder 14"/>
          <p:cNvSpPr>
            <a:spLocks noGrp="1"/>
          </p:cNvSpPr>
          <p:nvPr>
            <p:ph type="body" idx="1"/>
          </p:nvPr>
        </p:nvSpPr>
        <p:spPr>
          <a:xfrm>
            <a:off x="228600" y="1600204"/>
            <a:ext cx="11696700" cy="4559531"/>
          </a:xfrm>
          <a:prstGeom prst="rect">
            <a:avLst/>
          </a:prstGeom>
        </p:spPr>
        <p:txBody>
          <a:bodyPr vert="horz" lIns="137160" tIns="91440" rIns="137160" bIns="13716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4" y="6553203"/>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543">
              <a:defRPr/>
            </a:pPr>
            <a:fld id="{FAADACFB-7C71-4E89-89D2-7BBA40B7BFA9}" type="slidenum">
              <a:rPr lang="en-US" smtClean="0">
                <a:solidFill>
                  <a:srgbClr val="505050"/>
                </a:solidFill>
              </a:rPr>
              <a:pPr defTabSz="1087543">
                <a:defRPr/>
              </a:pPr>
              <a:t>‹#›</a:t>
            </a:fld>
            <a:endParaRPr lang="en-US" dirty="0">
              <a:solidFill>
                <a:srgbClr val="505050"/>
              </a:solidFill>
            </a:endParaRPr>
          </a:p>
        </p:txBody>
      </p:sp>
    </p:spTree>
    <p:extLst>
      <p:ext uri="{BB962C8B-B14F-4D97-AF65-F5344CB8AC3E}">
        <p14:creationId xmlns:p14="http://schemas.microsoft.com/office/powerpoint/2010/main" val="4131425692"/>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 id="2147483810" r:id="rId23"/>
    <p:sldLayoutId id="2147483811" r:id="rId24"/>
    <p:sldLayoutId id="2147483812" r:id="rId25"/>
    <p:sldLayoutId id="2147483813" r:id="rId26"/>
    <p:sldLayoutId id="2147483814" r:id="rId27"/>
    <p:sldLayoutId id="2147483815" r:id="rId28"/>
    <p:sldLayoutId id="2147483816" r:id="rId29"/>
    <p:sldLayoutId id="2147483817" r:id="rId30"/>
  </p:sldLayoutIdLst>
  <p:transition>
    <p:fade/>
  </p:transition>
  <p:hf hdr="0" ftr="0" dt="0"/>
  <p:txStyles>
    <p:titleStyle>
      <a:lvl1pPr marL="0" algn="l" defTabSz="1087543" rtl="0" eaLnBrk="1" latinLnBrk="0" hangingPunct="1">
        <a:lnSpc>
          <a:spcPct val="90000"/>
        </a:lnSpc>
        <a:spcBef>
          <a:spcPct val="0"/>
        </a:spcBef>
        <a:buNone/>
        <a:defRPr lang="en-US" sz="4799"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7543" rtl="0" eaLnBrk="1" latinLnBrk="0" hangingPunct="1">
        <a:spcBef>
          <a:spcPts val="1799"/>
        </a:spcBef>
        <a:buClr>
          <a:srgbClr val="0072C6"/>
        </a:buClr>
        <a:buSzPct val="100000"/>
        <a:buFont typeface="Wingdings" pitchFamily="2" charset="2"/>
        <a:buNone/>
        <a:defRPr sz="2399" kern="1200">
          <a:solidFill>
            <a:schemeClr val="tx1"/>
          </a:solidFill>
          <a:latin typeface="Segoe UI" pitchFamily="34" charset="0"/>
          <a:ea typeface="Segoe UI" pitchFamily="34" charset="0"/>
          <a:cs typeface="Segoe UI" pitchFamily="34" charset="0"/>
        </a:defRPr>
      </a:lvl1pPr>
      <a:lvl2pPr marL="475825" indent="-194295" algn="l" defTabSz="1087543" rtl="0" eaLnBrk="1" latinLnBrk="0" hangingPunct="1">
        <a:spcBef>
          <a:spcPct val="20000"/>
        </a:spcBef>
        <a:buFont typeface="Arial" pitchFamily="34" charset="0"/>
        <a:buChar char="•"/>
        <a:defRPr sz="1799" kern="1200">
          <a:solidFill>
            <a:schemeClr val="tx1"/>
          </a:solidFill>
          <a:latin typeface="Segoe UI" pitchFamily="34" charset="0"/>
          <a:ea typeface="Segoe UI" pitchFamily="34" charset="0"/>
          <a:cs typeface="Segoe UI" pitchFamily="34" charset="0"/>
        </a:defRPr>
      </a:lvl2pPr>
      <a:lvl3pPr marL="761319" indent="-173146" algn="l" defTabSz="1087543"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6813" indent="-177113" algn="l" defTabSz="1087543"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4725" indent="-179757" algn="l" defTabSz="1087543"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0744" indent="-271886" algn="l" defTabSz="1087543" rtl="0" eaLnBrk="1" latinLnBrk="0" hangingPunct="1">
        <a:spcBef>
          <a:spcPct val="20000"/>
        </a:spcBef>
        <a:buFont typeface="Arial" pitchFamily="34" charset="0"/>
        <a:buChar char="•"/>
        <a:defRPr sz="2499" kern="1200">
          <a:solidFill>
            <a:schemeClr val="tx1"/>
          </a:solidFill>
          <a:latin typeface="+mn-lt"/>
          <a:ea typeface="+mn-ea"/>
          <a:cs typeface="+mn-cs"/>
        </a:defRPr>
      </a:lvl6pPr>
      <a:lvl7pPr marL="3534513" indent="-271886" algn="l" defTabSz="1087543" rtl="0" eaLnBrk="1" latinLnBrk="0" hangingPunct="1">
        <a:spcBef>
          <a:spcPct val="20000"/>
        </a:spcBef>
        <a:buFont typeface="Arial" pitchFamily="34" charset="0"/>
        <a:buChar char="•"/>
        <a:defRPr sz="2499" kern="1200">
          <a:solidFill>
            <a:schemeClr val="tx1"/>
          </a:solidFill>
          <a:latin typeface="+mn-lt"/>
          <a:ea typeface="+mn-ea"/>
          <a:cs typeface="+mn-cs"/>
        </a:defRPr>
      </a:lvl7pPr>
      <a:lvl8pPr marL="4078287" indent="-271886" algn="l" defTabSz="1087543" rtl="0" eaLnBrk="1" latinLnBrk="0" hangingPunct="1">
        <a:spcBef>
          <a:spcPct val="20000"/>
        </a:spcBef>
        <a:buFont typeface="Arial" pitchFamily="34" charset="0"/>
        <a:buChar char="•"/>
        <a:defRPr sz="2499" kern="1200">
          <a:solidFill>
            <a:schemeClr val="tx1"/>
          </a:solidFill>
          <a:latin typeface="+mn-lt"/>
          <a:ea typeface="+mn-ea"/>
          <a:cs typeface="+mn-cs"/>
        </a:defRPr>
      </a:lvl8pPr>
      <a:lvl9pPr marL="4622057" indent="-271886" algn="l" defTabSz="1087543" rtl="0" eaLnBrk="1" latinLnBrk="0" hangingPunct="1">
        <a:spcBef>
          <a:spcPct val="20000"/>
        </a:spcBef>
        <a:buFont typeface="Arial" pitchFamily="34" charset="0"/>
        <a:buChar char="•"/>
        <a:defRPr sz="2499" kern="1200">
          <a:solidFill>
            <a:schemeClr val="tx1"/>
          </a:solidFill>
          <a:latin typeface="+mn-lt"/>
          <a:ea typeface="+mn-ea"/>
          <a:cs typeface="+mn-cs"/>
        </a:defRPr>
      </a:lvl9pPr>
    </p:bodyStyle>
    <p:otherStyle>
      <a:defPPr>
        <a:defRPr lang="en-US"/>
      </a:defPPr>
      <a:lvl1pPr marL="0" algn="l" defTabSz="1087543" rtl="0" eaLnBrk="1" latinLnBrk="0" hangingPunct="1">
        <a:defRPr sz="2199" kern="1200">
          <a:solidFill>
            <a:schemeClr val="tx1"/>
          </a:solidFill>
          <a:latin typeface="+mn-lt"/>
          <a:ea typeface="+mn-ea"/>
          <a:cs typeface="+mn-cs"/>
        </a:defRPr>
      </a:lvl1pPr>
      <a:lvl2pPr marL="543772" algn="l" defTabSz="1087543" rtl="0" eaLnBrk="1" latinLnBrk="0" hangingPunct="1">
        <a:defRPr sz="2199" kern="1200">
          <a:solidFill>
            <a:schemeClr val="tx1"/>
          </a:solidFill>
          <a:latin typeface="+mn-lt"/>
          <a:ea typeface="+mn-ea"/>
          <a:cs typeface="+mn-cs"/>
        </a:defRPr>
      </a:lvl2pPr>
      <a:lvl3pPr marL="1087543" algn="l" defTabSz="1087543" rtl="0" eaLnBrk="1" latinLnBrk="0" hangingPunct="1">
        <a:defRPr sz="2199" kern="1200">
          <a:solidFill>
            <a:schemeClr val="tx1"/>
          </a:solidFill>
          <a:latin typeface="+mn-lt"/>
          <a:ea typeface="+mn-ea"/>
          <a:cs typeface="+mn-cs"/>
        </a:defRPr>
      </a:lvl3pPr>
      <a:lvl4pPr marL="1631314" algn="l" defTabSz="1087543" rtl="0" eaLnBrk="1" latinLnBrk="0" hangingPunct="1">
        <a:defRPr sz="2199" kern="1200">
          <a:solidFill>
            <a:schemeClr val="tx1"/>
          </a:solidFill>
          <a:latin typeface="+mn-lt"/>
          <a:ea typeface="+mn-ea"/>
          <a:cs typeface="+mn-cs"/>
        </a:defRPr>
      </a:lvl4pPr>
      <a:lvl5pPr marL="2175086" algn="l" defTabSz="1087543" rtl="0" eaLnBrk="1" latinLnBrk="0" hangingPunct="1">
        <a:defRPr sz="2199" kern="1200">
          <a:solidFill>
            <a:schemeClr val="tx1"/>
          </a:solidFill>
          <a:latin typeface="+mn-lt"/>
          <a:ea typeface="+mn-ea"/>
          <a:cs typeface="+mn-cs"/>
        </a:defRPr>
      </a:lvl5pPr>
      <a:lvl6pPr marL="2718858" algn="l" defTabSz="1087543" rtl="0" eaLnBrk="1" latinLnBrk="0" hangingPunct="1">
        <a:defRPr sz="2199" kern="1200">
          <a:solidFill>
            <a:schemeClr val="tx1"/>
          </a:solidFill>
          <a:latin typeface="+mn-lt"/>
          <a:ea typeface="+mn-ea"/>
          <a:cs typeface="+mn-cs"/>
        </a:defRPr>
      </a:lvl6pPr>
      <a:lvl7pPr marL="3262628" algn="l" defTabSz="1087543" rtl="0" eaLnBrk="1" latinLnBrk="0" hangingPunct="1">
        <a:defRPr sz="2199" kern="1200">
          <a:solidFill>
            <a:schemeClr val="tx1"/>
          </a:solidFill>
          <a:latin typeface="+mn-lt"/>
          <a:ea typeface="+mn-ea"/>
          <a:cs typeface="+mn-cs"/>
        </a:defRPr>
      </a:lvl7pPr>
      <a:lvl8pPr marL="3806401" algn="l" defTabSz="1087543" rtl="0" eaLnBrk="1" latinLnBrk="0" hangingPunct="1">
        <a:defRPr sz="2199" kern="1200">
          <a:solidFill>
            <a:schemeClr val="tx1"/>
          </a:solidFill>
          <a:latin typeface="+mn-lt"/>
          <a:ea typeface="+mn-ea"/>
          <a:cs typeface="+mn-cs"/>
        </a:defRPr>
      </a:lvl8pPr>
      <a:lvl9pPr marL="4350173" algn="l" defTabSz="1087543" rtl="0" eaLnBrk="1" latinLnBrk="0" hangingPunct="1">
        <a:defRPr sz="21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629">
          <p15:clr>
            <a:srgbClr val="5ACBF0"/>
          </p15:clr>
        </p15:guide>
        <p15:guide id="2" pos="3053">
          <p15:clr>
            <a:srgbClr val="5ACBF0"/>
          </p15:clr>
        </p15:guide>
        <p15:guide id="3" pos="2477">
          <p15:clr>
            <a:srgbClr val="5ACBF0"/>
          </p15:clr>
        </p15:guide>
        <p15:guide id="4" pos="1901">
          <p15:clr>
            <a:srgbClr val="5ACBF0"/>
          </p15:clr>
        </p15:guide>
        <p15:guide id="5" pos="1325">
          <p15:clr>
            <a:srgbClr val="5ACBF0"/>
          </p15:clr>
        </p15:guide>
        <p15:guide id="6" pos="749">
          <p15:clr>
            <a:srgbClr val="5ACBF0"/>
          </p15:clr>
        </p15:guide>
        <p15:guide id="7" pos="173">
          <p15:clr>
            <a:srgbClr val="5ACBF0"/>
          </p15:clr>
        </p15:guide>
        <p15:guide id="8" pos="4205">
          <p15:clr>
            <a:srgbClr val="5ACBF0"/>
          </p15:clr>
        </p15:guide>
        <p15:guide id="9" pos="4781">
          <p15:clr>
            <a:srgbClr val="5ACBF0"/>
          </p15:clr>
        </p15:guide>
        <p15:guide id="10" pos="5357">
          <p15:clr>
            <a:srgbClr val="5ACBF0"/>
          </p15:clr>
        </p15:guide>
        <p15:guide id="11" pos="5933">
          <p15:clr>
            <a:srgbClr val="5ACBF0"/>
          </p15:clr>
        </p15:guide>
        <p15:guide id="12" pos="6509">
          <p15:clr>
            <a:srgbClr val="5ACBF0"/>
          </p15:clr>
        </p15:guide>
        <p15:guide id="13" pos="7085">
          <p15:clr>
            <a:srgbClr val="5ACBF0"/>
          </p15:clr>
        </p15:guide>
        <p15:guide id="14" pos="7661">
          <p15:clr>
            <a:srgbClr val="5ACBF0"/>
          </p15:clr>
        </p15:guide>
        <p15:guide id="15" orient="horz" pos="187">
          <p15:clr>
            <a:srgbClr val="5ACBF0"/>
          </p15:clr>
        </p15:guide>
        <p15:guide id="16" orient="horz" pos="763">
          <p15:clr>
            <a:srgbClr val="5ACBF0"/>
          </p15:clr>
        </p15:guide>
        <p15:guide id="17" orient="horz" pos="1339">
          <p15:clr>
            <a:srgbClr val="5ACBF0"/>
          </p15:clr>
        </p15:guide>
        <p15:guide id="18" orient="horz" pos="1915">
          <p15:clr>
            <a:srgbClr val="5ACBF0"/>
          </p15:clr>
        </p15:guide>
        <p15:guide id="19" orient="horz" pos="2491">
          <p15:clr>
            <a:srgbClr val="5ACBF0"/>
          </p15:clr>
        </p15:guide>
        <p15:guide id="20" orient="horz" pos="3067">
          <p15:clr>
            <a:srgbClr val="5ACBF0"/>
          </p15:clr>
        </p15:guide>
        <p15:guide id="21" orient="horz" pos="3643">
          <p15:clr>
            <a:srgbClr val="5ACBF0"/>
          </p15:clr>
        </p15:guide>
        <p15:guide id="22" orient="horz" pos="4219">
          <p15:clr>
            <a:srgbClr val="5ACBF0"/>
          </p15:clr>
        </p15:guide>
        <p15:guide id="23" pos="288">
          <p15:clr>
            <a:srgbClr val="F26B43"/>
          </p15:clr>
        </p15:guide>
        <p15:guide id="24" pos="7548">
          <p15:clr>
            <a:srgbClr val="F26B43"/>
          </p15:clr>
        </p15:guide>
        <p15:guide id="25" orient="horz" pos="304">
          <p15:clr>
            <a:srgbClr val="F26B43"/>
          </p15:clr>
        </p15:guide>
        <p15:guide id="26" orient="horz" pos="4104">
          <p15:clr>
            <a:srgbClr val="F26B43"/>
          </p15:clr>
        </p15:guide>
        <p15:guide id="27" pos="3916">
          <p15:clr>
            <a:srgbClr val="F26B43"/>
          </p15:clr>
        </p15:guide>
        <p15:guide id="28" orient="horz" pos="2203">
          <p15:clr>
            <a:srgbClr val="F26B43"/>
          </p15:clr>
        </p15:guide>
        <p15:guide id="29" orient="horz" pos="832">
          <p15:clr>
            <a:srgbClr val="F26B43"/>
          </p15:clr>
        </p15:guide>
        <p15:guide id="30" orient="horz" pos="102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128.xml"/></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8.xml"/><Relationship Id="rId1" Type="http://schemas.openxmlformats.org/officeDocument/2006/relationships/slideLayout" Target="../slideLayouts/slideLayout144.xml"/></Relationships>
</file>

<file path=ppt/slides/_rels/slide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148.xml"/><Relationship Id="rId5" Type="http://schemas.openxmlformats.org/officeDocument/2006/relationships/image" Target="../media/image46.png"/><Relationship Id="rId4" Type="http://schemas.openxmlformats.org/officeDocument/2006/relationships/image" Target="../media/image45.png"/></Relationships>
</file>

<file path=ppt/slides/_rels/slide1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0.xml"/><Relationship Id="rId1" Type="http://schemas.openxmlformats.org/officeDocument/2006/relationships/slideLayout" Target="../slideLayouts/slideLayout145.xml"/><Relationship Id="rId5" Type="http://schemas.openxmlformats.org/officeDocument/2006/relationships/image" Target="../media/image49.png"/><Relationship Id="rId4" Type="http://schemas.openxmlformats.org/officeDocument/2006/relationships/image" Target="../media/image48.png"/></Relationships>
</file>

<file path=ppt/slides/_rels/slide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1.xml"/><Relationship Id="rId1" Type="http://schemas.openxmlformats.org/officeDocument/2006/relationships/slideLayout" Target="../slideLayouts/slideLayout147.xml"/></Relationships>
</file>

<file path=ppt/slides/_rels/slide1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tmp"/><Relationship Id="rId1" Type="http://schemas.openxmlformats.org/officeDocument/2006/relationships/slideLayout" Target="../slideLayouts/slideLayout62.xml"/></Relationships>
</file>

<file path=ppt/slides/_rels/slide1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63.xml"/></Relationships>
</file>

<file path=ppt/slides/_rels/slide1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2.xml"/><Relationship Id="rId1" Type="http://schemas.openxmlformats.org/officeDocument/2006/relationships/slideLayout" Target="../slideLayouts/slideLayout163.xml"/></Relationships>
</file>

<file path=ppt/slides/_rels/slide1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62.xml"/><Relationship Id="rId4" Type="http://schemas.openxmlformats.org/officeDocument/2006/relationships/image" Target="../media/image57.png"/></Relationships>
</file>

<file path=ppt/slides/_rels/slide19.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image" Target="../media/image58.png"/><Relationship Id="rId1" Type="http://schemas.openxmlformats.org/officeDocument/2006/relationships/slideLayout" Target="../slideLayouts/slideLayout62.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7.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jpg"/></Relationships>
</file>

<file path=ppt/slides/_rels/slide2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63.xml"/></Relationships>
</file>

<file path=ppt/slides/_rels/slide2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163.xml"/></Relationships>
</file>

<file path=ppt/slides/_rels/slide2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4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7.xml"/></Relationships>
</file>

<file path=ppt/slides/_rels/slide24.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notesSlide" Target="../notesSlides/notesSlide14.xml"/><Relationship Id="rId1" Type="http://schemas.openxmlformats.org/officeDocument/2006/relationships/slideLayout" Target="../slideLayouts/slideLayout71.xml"/></Relationships>
</file>

<file path=ppt/slides/_rels/slide25.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notesSlide" Target="../notesSlides/notesSlide15.xml"/><Relationship Id="rId1" Type="http://schemas.openxmlformats.org/officeDocument/2006/relationships/slideLayout" Target="../slideLayouts/slideLayout71.xml"/><Relationship Id="rId4" Type="http://schemas.openxmlformats.org/officeDocument/2006/relationships/image" Target="../media/image69.emf"/></Relationships>
</file>

<file path=ppt/slides/_rels/slide2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6.xml"/><Relationship Id="rId1" Type="http://schemas.openxmlformats.org/officeDocument/2006/relationships/slideLayout" Target="../slideLayouts/slideLayout71.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2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7.xml"/><Relationship Id="rId1" Type="http://schemas.openxmlformats.org/officeDocument/2006/relationships/slideLayout" Target="../slideLayouts/slideLayout71.xml"/><Relationship Id="rId5" Type="http://schemas.openxmlformats.org/officeDocument/2006/relationships/image" Target="../media/image76.png"/><Relationship Id="rId4" Type="http://schemas.openxmlformats.org/officeDocument/2006/relationships/image" Target="../media/image75.png"/></Relationships>
</file>

<file path=ppt/slides/_rels/slide28.xml.rels><?xml version="1.0" encoding="UTF-8" standalone="yes"?>
<Relationships xmlns="http://schemas.openxmlformats.org/package/2006/relationships"><Relationship Id="rId8" Type="http://schemas.openxmlformats.org/officeDocument/2006/relationships/image" Target="../media/image82.png"/><Relationship Id="rId13" Type="http://schemas.openxmlformats.org/officeDocument/2006/relationships/image" Target="../media/image87.png"/><Relationship Id="rId18" Type="http://schemas.openxmlformats.org/officeDocument/2006/relationships/image" Target="../media/image91.png"/><Relationship Id="rId26" Type="http://schemas.openxmlformats.org/officeDocument/2006/relationships/image" Target="../media/image99.png"/><Relationship Id="rId3" Type="http://schemas.openxmlformats.org/officeDocument/2006/relationships/image" Target="../media/image77.png"/><Relationship Id="rId21" Type="http://schemas.openxmlformats.org/officeDocument/2006/relationships/image" Target="../media/image94.png"/><Relationship Id="rId7" Type="http://schemas.openxmlformats.org/officeDocument/2006/relationships/image" Target="../media/image81.png"/><Relationship Id="rId12" Type="http://schemas.openxmlformats.org/officeDocument/2006/relationships/image" Target="../media/image86.png"/><Relationship Id="rId17" Type="http://schemas.openxmlformats.org/officeDocument/2006/relationships/image" Target="../media/image90.png"/><Relationship Id="rId25" Type="http://schemas.openxmlformats.org/officeDocument/2006/relationships/image" Target="../media/image98.png"/><Relationship Id="rId2" Type="http://schemas.openxmlformats.org/officeDocument/2006/relationships/notesSlide" Target="../notesSlides/notesSlide18.xml"/><Relationship Id="rId16" Type="http://schemas.openxmlformats.org/officeDocument/2006/relationships/image" Target="../media/image89.png"/><Relationship Id="rId20" Type="http://schemas.openxmlformats.org/officeDocument/2006/relationships/image" Target="../media/image93.png"/><Relationship Id="rId29" Type="http://schemas.openxmlformats.org/officeDocument/2006/relationships/image" Target="../media/image102.png"/><Relationship Id="rId1" Type="http://schemas.openxmlformats.org/officeDocument/2006/relationships/slideLayout" Target="../slideLayouts/slideLayout71.xml"/><Relationship Id="rId6" Type="http://schemas.openxmlformats.org/officeDocument/2006/relationships/image" Target="../media/image80.png"/><Relationship Id="rId11" Type="http://schemas.openxmlformats.org/officeDocument/2006/relationships/image" Target="../media/image85.png"/><Relationship Id="rId24" Type="http://schemas.openxmlformats.org/officeDocument/2006/relationships/image" Target="../media/image97.png"/><Relationship Id="rId5" Type="http://schemas.openxmlformats.org/officeDocument/2006/relationships/image" Target="../media/image79.png"/><Relationship Id="rId15" Type="http://schemas.openxmlformats.org/officeDocument/2006/relationships/image" Target="../media/image88.png"/><Relationship Id="rId23" Type="http://schemas.openxmlformats.org/officeDocument/2006/relationships/image" Target="../media/image96.png"/><Relationship Id="rId28" Type="http://schemas.openxmlformats.org/officeDocument/2006/relationships/image" Target="../media/image101.png"/><Relationship Id="rId10" Type="http://schemas.openxmlformats.org/officeDocument/2006/relationships/image" Target="../media/image84.png"/><Relationship Id="rId19" Type="http://schemas.openxmlformats.org/officeDocument/2006/relationships/image" Target="../media/image92.png"/><Relationship Id="rId4" Type="http://schemas.openxmlformats.org/officeDocument/2006/relationships/image" Target="../media/image78.png"/><Relationship Id="rId9" Type="http://schemas.openxmlformats.org/officeDocument/2006/relationships/image" Target="../media/image83.png"/><Relationship Id="rId14" Type="http://schemas.openxmlformats.org/officeDocument/2006/relationships/image" Target="../media/image75.png"/><Relationship Id="rId22" Type="http://schemas.openxmlformats.org/officeDocument/2006/relationships/image" Target="../media/image95.png"/><Relationship Id="rId27" Type="http://schemas.openxmlformats.org/officeDocument/2006/relationships/image" Target="../media/image100.png"/><Relationship Id="rId30" Type="http://schemas.openxmlformats.org/officeDocument/2006/relationships/image" Target="../media/image76.png"/></Relationships>
</file>

<file path=ppt/slides/_rels/slide29.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9.xml"/><Relationship Id="rId1" Type="http://schemas.openxmlformats.org/officeDocument/2006/relationships/slideLayout" Target="../slideLayouts/slideLayout71.xml"/></Relationships>
</file>

<file path=ppt/slides/_rels/slide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6.jpg"/><Relationship Id="rId7" Type="http://schemas.openxmlformats.org/officeDocument/2006/relationships/image" Target="../media/image37.png"/><Relationship Id="rId2" Type="http://schemas.openxmlformats.org/officeDocument/2006/relationships/notesSlide" Target="../notesSlides/notesSlide1.xml"/><Relationship Id="rId1" Type="http://schemas.openxmlformats.org/officeDocument/2006/relationships/slideLayout" Target="../slideLayouts/slideLayout29.xml"/><Relationship Id="rId6" Type="http://schemas.openxmlformats.org/officeDocument/2006/relationships/hyperlink" Target="http://www.biztalk360.com/biztalk-mapping-patterns/" TargetMode="External"/><Relationship Id="rId5" Type="http://schemas.openxmlformats.org/officeDocument/2006/relationships/hyperlink" Target="https://blog.sandro-pereira.com/" TargetMode="External"/><Relationship Id="rId4" Type="http://schemas.openxmlformats.org/officeDocument/2006/relationships/hyperlink" Target="mailto:sandro.pereira@devscope.net" TargetMode="External"/><Relationship Id="rId9" Type="http://schemas.openxmlformats.org/officeDocument/2006/relationships/image" Target="../media/image39.png"/></Relationships>
</file>

<file path=ppt/slides/_rels/slide30.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0.xml"/><Relationship Id="rId1" Type="http://schemas.openxmlformats.org/officeDocument/2006/relationships/slideLayout" Target="../slideLayouts/slideLayout71.xml"/><Relationship Id="rId5" Type="http://schemas.openxmlformats.org/officeDocument/2006/relationships/image" Target="../media/image106.png"/><Relationship Id="rId4" Type="http://schemas.openxmlformats.org/officeDocument/2006/relationships/image" Target="../media/image105.png"/></Relationships>
</file>

<file path=ppt/slides/_rels/slide3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1.xml"/><Relationship Id="rId1" Type="http://schemas.openxmlformats.org/officeDocument/2006/relationships/slideLayout" Target="../slideLayouts/slideLayout71.xml"/></Relationships>
</file>

<file path=ppt/slides/_rels/slide32.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2.xml"/><Relationship Id="rId1" Type="http://schemas.openxmlformats.org/officeDocument/2006/relationships/slideLayout" Target="../slideLayouts/slideLayout71.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33.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3.xml"/><Relationship Id="rId1" Type="http://schemas.openxmlformats.org/officeDocument/2006/relationships/slideLayout" Target="../slideLayouts/slideLayout71.xml"/></Relationships>
</file>

<file path=ppt/slides/_rels/slide34.xml.rels><?xml version="1.0" encoding="UTF-8" standalone="yes"?>
<Relationships xmlns="http://schemas.openxmlformats.org/package/2006/relationships"><Relationship Id="rId3" Type="http://schemas.openxmlformats.org/officeDocument/2006/relationships/image" Target="../media/image113.tiff"/><Relationship Id="rId2" Type="http://schemas.openxmlformats.org/officeDocument/2006/relationships/notesSlide" Target="../notesSlides/notesSlide24.xml"/><Relationship Id="rId1" Type="http://schemas.openxmlformats.org/officeDocument/2006/relationships/slideLayout" Target="../slideLayouts/slideLayout71.xml"/></Relationships>
</file>

<file path=ppt/slides/_rels/slide35.xml.rels><?xml version="1.0" encoding="UTF-8" standalone="yes"?>
<Relationships xmlns="http://schemas.openxmlformats.org/package/2006/relationships"><Relationship Id="rId3" Type="http://schemas.openxmlformats.org/officeDocument/2006/relationships/image" Target="../media/image114.tiff"/><Relationship Id="rId2" Type="http://schemas.openxmlformats.org/officeDocument/2006/relationships/notesSlide" Target="../notesSlides/notesSlide25.xml"/><Relationship Id="rId1" Type="http://schemas.openxmlformats.org/officeDocument/2006/relationships/slideLayout" Target="../slideLayouts/slideLayout51.xml"/><Relationship Id="rId5" Type="http://schemas.openxmlformats.org/officeDocument/2006/relationships/image" Target="../media/image116.tiff"/><Relationship Id="rId4" Type="http://schemas.openxmlformats.org/officeDocument/2006/relationships/image" Target="../media/image115.tiff"/></Relationships>
</file>

<file path=ppt/slides/_rels/slide36.xml.rels><?xml version="1.0" encoding="UTF-8" standalone="yes"?>
<Relationships xmlns="http://schemas.openxmlformats.org/package/2006/relationships"><Relationship Id="rId3" Type="http://schemas.openxmlformats.org/officeDocument/2006/relationships/image" Target="../media/image114.tiff"/><Relationship Id="rId2" Type="http://schemas.openxmlformats.org/officeDocument/2006/relationships/notesSlide" Target="../notesSlides/notesSlide26.xml"/><Relationship Id="rId1" Type="http://schemas.openxmlformats.org/officeDocument/2006/relationships/slideLayout" Target="../slideLayouts/slideLayout51.xml"/><Relationship Id="rId5" Type="http://schemas.openxmlformats.org/officeDocument/2006/relationships/image" Target="../media/image116.tiff"/><Relationship Id="rId4" Type="http://schemas.openxmlformats.org/officeDocument/2006/relationships/image" Target="../media/image115.tiff"/></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5.xml"/></Relationships>
</file>

<file path=ppt/slides/_rels/slide38.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28.xml"/><Relationship Id="rId1" Type="http://schemas.openxmlformats.org/officeDocument/2006/relationships/slideLayout" Target="../slideLayouts/slideLayout71.xml"/><Relationship Id="rId4" Type="http://schemas.openxmlformats.org/officeDocument/2006/relationships/image" Target="../media/image118.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3.xml"/></Relationships>
</file>

<file path=ppt/slides/_rels/slide40.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30.xml"/><Relationship Id="rId1" Type="http://schemas.openxmlformats.org/officeDocument/2006/relationships/slideLayout" Target="../slideLayouts/slideLayout71.xml"/><Relationship Id="rId5" Type="http://schemas.openxmlformats.org/officeDocument/2006/relationships/image" Target="../media/image121.png"/><Relationship Id="rId4" Type="http://schemas.openxmlformats.org/officeDocument/2006/relationships/image" Target="../media/image120.gif"/></Relationships>
</file>

<file path=ppt/slides/_rels/slide4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31.xml"/><Relationship Id="rId1" Type="http://schemas.openxmlformats.org/officeDocument/2006/relationships/slideLayout" Target="../slideLayouts/slideLayout71.xml"/><Relationship Id="rId4" Type="http://schemas.openxmlformats.org/officeDocument/2006/relationships/image" Target="../media/image64.png"/></Relationships>
</file>

<file path=ppt/slides/_rels/slide4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76.xml"/></Relationships>
</file>

<file path=ppt/slides/_rels/slide4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23.png"/><Relationship Id="rId7" Type="http://schemas.openxmlformats.org/officeDocument/2006/relationships/image" Target="../media/image127.jpg"/><Relationship Id="rId2" Type="http://schemas.openxmlformats.org/officeDocument/2006/relationships/notesSlide" Target="../notesSlides/notesSlide32.xml"/><Relationship Id="rId1" Type="http://schemas.openxmlformats.org/officeDocument/2006/relationships/slideLayout" Target="../slideLayouts/slideLayout84.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24.png"/></Relationships>
</file>

<file path=ppt/slides/_rels/slide4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7.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jpg"/></Relationships>
</file>

<file path=ppt/slides/_rels/slide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xml"/><Relationship Id="rId1" Type="http://schemas.openxmlformats.org/officeDocument/2006/relationships/slideLayout" Target="../slideLayouts/slideLayout62.xml"/></Relationships>
</file>

<file path=ppt/slides/_rels/slide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xml"/><Relationship Id="rId1" Type="http://schemas.openxmlformats.org/officeDocument/2006/relationships/slideLayout" Target="../slideLayouts/slideLayout83.xml"/></Relationships>
</file>

<file path=ppt/slides/_rels/slide7.xml.rels><?xml version="1.0" encoding="UTF-8" standalone="yes"?>
<Relationships xmlns="http://schemas.openxmlformats.org/package/2006/relationships"><Relationship Id="rId3" Type="http://schemas.openxmlformats.org/officeDocument/2006/relationships/hyperlink" Target="https://web.powerapps.com/apps/7d801708-c8af-4297-884f-50c6031b7ef1" TargetMode="External"/><Relationship Id="rId2" Type="http://schemas.openxmlformats.org/officeDocument/2006/relationships/image" Target="../media/image41.jpeg"/><Relationship Id="rId1" Type="http://schemas.openxmlformats.org/officeDocument/2006/relationships/slideLayout" Target="../slideLayouts/slideLayout83.xml"/></Relationships>
</file>

<file path=ppt/slides/_rels/slide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5.xml"/><Relationship Id="rId1" Type="http://schemas.openxmlformats.org/officeDocument/2006/relationships/slideLayout" Target="../slideLayouts/slideLayout87.xml"/></Relationships>
</file>

<file path=ppt/slides/_rels/slide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1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2"/>
          <a:stretch>
            <a:fillRect/>
          </a:stretch>
        </p:blipFill>
        <p:spPr>
          <a:xfrm>
            <a:off x="1473640" y="1322694"/>
            <a:ext cx="4322320" cy="4212613"/>
          </a:xfrm>
          <a:prstGeom prst="rect">
            <a:avLst/>
          </a:prstGeom>
        </p:spPr>
      </p:pic>
      <p:sp>
        <p:nvSpPr>
          <p:cNvPr id="2" name="Title 1"/>
          <p:cNvSpPr>
            <a:spLocks noGrp="1"/>
          </p:cNvSpPr>
          <p:nvPr>
            <p:ph type="ctrTitle"/>
          </p:nvPr>
        </p:nvSpPr>
        <p:spPr>
          <a:xfrm>
            <a:off x="5268644" y="2961861"/>
            <a:ext cx="6278700" cy="1058002"/>
          </a:xfrm>
          <a:noFill/>
        </p:spPr>
        <p:txBody>
          <a:bodyPr>
            <a:normAutofit/>
          </a:bodyPr>
          <a:lstStyle/>
          <a:p>
            <a:r>
              <a:rPr lang="pt-PT" dirty="0">
                <a:solidFill>
                  <a:srgbClr val="A5382D"/>
                </a:solidFill>
                <a:latin typeface="Gill Sans MT Condensed" panose="020B0506020104020203" pitchFamily="34" charset="0"/>
              </a:rPr>
              <a:t>TUGA</a:t>
            </a:r>
            <a:r>
              <a:rPr lang="pt-PT" dirty="0">
                <a:latin typeface="Gill Sans MT Condensed" panose="020B0506020104020203" pitchFamily="34" charset="0"/>
              </a:rPr>
              <a:t> </a:t>
            </a:r>
            <a:r>
              <a:rPr lang="pt-PT" dirty="0">
                <a:solidFill>
                  <a:srgbClr val="798942"/>
                </a:solidFill>
                <a:latin typeface="Gill Sans MT Condensed" panose="020B0506020104020203" pitchFamily="34" charset="0"/>
              </a:rPr>
              <a:t>IT</a:t>
            </a:r>
            <a:r>
              <a:rPr lang="pt-PT" dirty="0">
                <a:latin typeface="Gill Sans MT Condensed" panose="020B0506020104020203" pitchFamily="34" charset="0"/>
              </a:rPr>
              <a:t> </a:t>
            </a:r>
            <a:r>
              <a:rPr lang="pt-PT" dirty="0">
                <a:solidFill>
                  <a:schemeClr val="tx1">
                    <a:lumMod val="75000"/>
                    <a:lumOff val="25000"/>
                  </a:schemeClr>
                </a:solidFill>
                <a:latin typeface="Gill Sans MT Condensed" panose="020B0506020104020203" pitchFamily="34" charset="0"/>
              </a:rPr>
              <a:t>2017</a:t>
            </a:r>
          </a:p>
        </p:txBody>
      </p:sp>
      <p:sp>
        <p:nvSpPr>
          <p:cNvPr id="3" name="Subtitle 2"/>
          <p:cNvSpPr>
            <a:spLocks noGrp="1"/>
          </p:cNvSpPr>
          <p:nvPr>
            <p:ph type="subTitle" idx="1"/>
          </p:nvPr>
        </p:nvSpPr>
        <p:spPr>
          <a:xfrm>
            <a:off x="5268645" y="4026841"/>
            <a:ext cx="6278700" cy="435829"/>
          </a:xfrm>
          <a:noFill/>
        </p:spPr>
        <p:txBody>
          <a:bodyPr>
            <a:normAutofit/>
          </a:bodyPr>
          <a:lstStyle/>
          <a:p>
            <a:r>
              <a:rPr lang="pt-PT" dirty="0">
                <a:solidFill>
                  <a:schemeClr val="tx1">
                    <a:lumMod val="75000"/>
                    <a:lumOff val="25000"/>
                  </a:schemeClr>
                </a:solidFill>
              </a:rPr>
              <a:t>LISBON, PORTUGAL</a:t>
            </a:r>
          </a:p>
        </p:txBody>
      </p:sp>
    </p:spTree>
    <p:extLst>
      <p:ext uri="{BB962C8B-B14F-4D97-AF65-F5344CB8AC3E}">
        <p14:creationId xmlns:p14="http://schemas.microsoft.com/office/powerpoint/2010/main" val="987476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l="5735" t="14647" r="575" b="6089"/>
          <a:stretch/>
        </p:blipFill>
        <p:spPr>
          <a:xfrm flipH="1">
            <a:off x="1588" y="-6400"/>
            <a:ext cx="12188824" cy="6879581"/>
          </a:xfrm>
          <a:prstGeom prst="rect">
            <a:avLst/>
          </a:prstGeom>
        </p:spPr>
      </p:pic>
      <p:sp>
        <p:nvSpPr>
          <p:cNvPr id="6" name="Trapezoid 3"/>
          <p:cNvSpPr/>
          <p:nvPr/>
        </p:nvSpPr>
        <p:spPr bwMode="auto">
          <a:xfrm rot="10800000" flipH="1">
            <a:off x="-6449" y="-6400"/>
            <a:ext cx="12196863" cy="6864144"/>
          </a:xfrm>
          <a:prstGeom prst="rect">
            <a:avLst/>
          </a:prstGeom>
          <a:solidFill>
            <a:schemeClr val="bg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TextBox 6"/>
          <p:cNvSpPr txBox="1"/>
          <p:nvPr/>
        </p:nvSpPr>
        <p:spPr>
          <a:xfrm>
            <a:off x="1578298" y="2532809"/>
            <a:ext cx="9035404" cy="1592700"/>
          </a:xfrm>
          <a:prstGeom prst="rect">
            <a:avLst/>
          </a:prstGeom>
          <a:noFill/>
        </p:spPr>
        <p:txBody>
          <a:bodyPr wrap="square" lIns="179238" tIns="143391" rIns="179238" bIns="143391" rtlCol="0">
            <a:spAutoFit/>
          </a:bodyPr>
          <a:lstStyle/>
          <a:p>
            <a:pPr algn="ctr" defTabSz="914040">
              <a:lnSpc>
                <a:spcPct val="90000"/>
              </a:lnSpc>
              <a:spcAft>
                <a:spcPts val="588"/>
              </a:spcAft>
              <a:defRPr/>
            </a:pPr>
            <a:r>
              <a:rPr lang="en-US" sz="4704" kern="0" dirty="0">
                <a:solidFill>
                  <a:prstClr val="white"/>
                </a:solidFill>
                <a:latin typeface="Segoe UI Light"/>
                <a:cs typeface="Segoe UI" panose="020B0502040204020203" pitchFamily="34" charset="0"/>
              </a:rPr>
              <a:t>What’s holding our</a:t>
            </a:r>
            <a:br>
              <a:rPr lang="en-US" sz="4704" kern="0" dirty="0">
                <a:solidFill>
                  <a:prstClr val="white"/>
                </a:solidFill>
                <a:latin typeface="Segoe UI Light"/>
                <a:cs typeface="Segoe UI" panose="020B0502040204020203" pitchFamily="34" charset="0"/>
              </a:rPr>
            </a:br>
            <a:r>
              <a:rPr lang="en-US" sz="4704" kern="0" dirty="0">
                <a:solidFill>
                  <a:prstClr val="white"/>
                </a:solidFill>
                <a:latin typeface="Segoe UI Light"/>
                <a:cs typeface="Segoe UI" panose="020B0502040204020203" pitchFamily="34" charset="0"/>
              </a:rPr>
              <a:t>business apps back?</a:t>
            </a:r>
          </a:p>
        </p:txBody>
      </p:sp>
    </p:spTree>
    <p:extLst>
      <p:ext uri="{BB962C8B-B14F-4D97-AF65-F5344CB8AC3E}">
        <p14:creationId xmlns:p14="http://schemas.microsoft.com/office/powerpoint/2010/main" val="273021786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p:cNvPicPr>
            <a:picLocks noChangeAspect="1"/>
          </p:cNvPicPr>
          <p:nvPr/>
        </p:nvPicPr>
        <p:blipFill rotWithShape="1">
          <a:blip r:embed="rId3"/>
          <a:srcRect l="5735" t="14647" r="575" b="6089"/>
          <a:stretch/>
        </p:blipFill>
        <p:spPr>
          <a:xfrm flipH="1">
            <a:off x="1588" y="-6400"/>
            <a:ext cx="12188824" cy="6879581"/>
          </a:xfrm>
          <a:prstGeom prst="rect">
            <a:avLst/>
          </a:prstGeom>
        </p:spPr>
      </p:pic>
      <p:sp>
        <p:nvSpPr>
          <p:cNvPr id="6" name="Trapezoid 3"/>
          <p:cNvSpPr/>
          <p:nvPr/>
        </p:nvSpPr>
        <p:spPr bwMode="auto">
          <a:xfrm rot="10800000" flipH="1">
            <a:off x="1587" y="-6400"/>
            <a:ext cx="12188826" cy="6864144"/>
          </a:xfrm>
          <a:prstGeom prst="rect">
            <a:avLst/>
          </a:prstGeom>
          <a:solidFill>
            <a:schemeClr val="bg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 name="Group 4"/>
          <p:cNvGrpSpPr/>
          <p:nvPr/>
        </p:nvGrpSpPr>
        <p:grpSpPr>
          <a:xfrm>
            <a:off x="4751713" y="1711301"/>
            <a:ext cx="2688574" cy="3568063"/>
            <a:chOff x="4846637" y="2359606"/>
            <a:chExt cx="2743200" cy="3640558"/>
          </a:xfrm>
        </p:grpSpPr>
        <p:grpSp>
          <p:nvGrpSpPr>
            <p:cNvPr id="8" name="Group 7"/>
            <p:cNvGrpSpPr/>
            <p:nvPr/>
          </p:nvGrpSpPr>
          <p:grpSpPr>
            <a:xfrm>
              <a:off x="5190064" y="2359606"/>
              <a:ext cx="1948689" cy="1948689"/>
              <a:chOff x="4957592" y="2305028"/>
              <a:chExt cx="2671870" cy="2671870"/>
            </a:xfrm>
          </p:grpSpPr>
          <p:sp>
            <p:nvSpPr>
              <p:cNvPr id="12" name="Oval 11"/>
              <p:cNvSpPr/>
              <p:nvPr/>
            </p:nvSpPr>
            <p:spPr bwMode="auto">
              <a:xfrm>
                <a:off x="4957592" y="2305028"/>
                <a:ext cx="2671870" cy="267187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a:gradFill>
                    <a:gsLst>
                      <a:gs pos="97633">
                        <a:prstClr val="white"/>
                      </a:gs>
                      <a:gs pos="88757">
                        <a:prstClr val="white"/>
                      </a:gs>
                    </a:gsLst>
                    <a:lin ang="5400000" scaled="1"/>
                  </a:gradFill>
                  <a:latin typeface="Segoe UI"/>
                  <a:ea typeface="Segoe UI" pitchFamily="34" charset="0"/>
                  <a:cs typeface="Segoe UI" pitchFamily="34" charset="0"/>
                </a:endParaRPr>
              </a:p>
            </p:txBody>
          </p:sp>
          <p:sp>
            <p:nvSpPr>
              <p:cNvPr id="13" name="Oval 12"/>
              <p:cNvSpPr/>
              <p:nvPr/>
            </p:nvSpPr>
            <p:spPr bwMode="auto">
              <a:xfrm>
                <a:off x="5770213" y="2559469"/>
                <a:ext cx="1046627" cy="1046627"/>
              </a:xfrm>
              <a:prstGeom prst="ellipse">
                <a:avLst/>
              </a:prstGeom>
              <a:solidFill>
                <a:srgbClr val="9696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a:gradFill>
                    <a:gsLst>
                      <a:gs pos="97633">
                        <a:prstClr val="white"/>
                      </a:gs>
                      <a:gs pos="88757">
                        <a:prstClr val="white"/>
                      </a:gs>
                    </a:gsLst>
                    <a:lin ang="5400000" scaled="1"/>
                  </a:gradFill>
                  <a:latin typeface="Segoe UI"/>
                  <a:ea typeface="Segoe UI" pitchFamily="34" charset="0"/>
                  <a:cs typeface="Segoe UI" pitchFamily="34" charset="0"/>
                </a:endParaRPr>
              </a:p>
            </p:txBody>
          </p:sp>
        </p:grpSp>
        <p:sp>
          <p:nvSpPr>
            <p:cNvPr id="9" name="People text"/>
            <p:cNvSpPr txBox="1"/>
            <p:nvPr/>
          </p:nvSpPr>
          <p:spPr>
            <a:xfrm>
              <a:off x="5273449" y="3365042"/>
              <a:ext cx="1729302" cy="610889"/>
            </a:xfrm>
            <a:prstGeom prst="rect">
              <a:avLst/>
            </a:prstGeom>
            <a:noFill/>
          </p:spPr>
          <p:txBody>
            <a:bodyPr wrap="square" lIns="0" tIns="143370" rIns="0" bIns="143370" rtlCol="0">
              <a:noAutofit/>
            </a:bodyPr>
            <a:lstStyle>
              <a:defPPr>
                <a:defRPr lang="en-US"/>
              </a:defPPr>
              <a:lvl1pPr algn="ctr">
                <a:lnSpc>
                  <a:spcPct val="80000"/>
                </a:lnSpc>
                <a:spcAft>
                  <a:spcPts val="600"/>
                </a:spcAft>
                <a:defRPr sz="3600">
                  <a:gradFill>
                    <a:gsLst>
                      <a:gs pos="47000">
                        <a:srgbClr val="517795"/>
                      </a:gs>
                      <a:gs pos="77000">
                        <a:srgbClr val="517795"/>
                      </a:gs>
                    </a:gsLst>
                    <a:lin ang="5400000" scaled="1"/>
                  </a:gradFill>
                  <a:latin typeface="Segoe UI Semibold" panose="020B0702040204020203" pitchFamily="34" charset="0"/>
                  <a:cs typeface="Segoe UI Semibold" panose="020B0702040204020203" pitchFamily="34" charset="0"/>
                </a:defRPr>
              </a:lvl1pPr>
            </a:lstStyle>
            <a:p>
              <a:pPr defTabSz="913918">
                <a:spcAft>
                  <a:spcPts val="588"/>
                </a:spcAft>
                <a:defRPr/>
              </a:pPr>
              <a:r>
                <a:rPr lang="en-US" sz="2352" kern="0" dirty="0">
                  <a:gradFill>
                    <a:gsLst>
                      <a:gs pos="97633">
                        <a:prstClr val="white"/>
                      </a:gs>
                      <a:gs pos="88757">
                        <a:prstClr val="white"/>
                      </a:gs>
                    </a:gsLst>
                    <a:lin ang="5400000" scaled="1"/>
                  </a:gradFill>
                </a:rPr>
                <a:t>5:1</a:t>
              </a:r>
            </a:p>
          </p:txBody>
        </p:sp>
        <p:sp>
          <p:nvSpPr>
            <p:cNvPr id="10" name="Rectangle 9"/>
            <p:cNvSpPr/>
            <p:nvPr/>
          </p:nvSpPr>
          <p:spPr>
            <a:xfrm>
              <a:off x="4846637" y="5243034"/>
              <a:ext cx="2743200" cy="757130"/>
            </a:xfrm>
            <a:prstGeom prst="rect">
              <a:avLst/>
            </a:prstGeom>
          </p:spPr>
          <p:txBody>
            <a:bodyPr wrap="square">
              <a:spAutoFit/>
            </a:bodyPr>
            <a:lstStyle/>
            <a:p>
              <a:pPr defTabSz="913918">
                <a:lnSpc>
                  <a:spcPct val="90000"/>
                </a:lnSpc>
                <a:defRPr/>
              </a:pPr>
              <a:r>
                <a:rPr lang="en-US" sz="1568" kern="0" dirty="0">
                  <a:gradFill>
                    <a:gsLst>
                      <a:gs pos="97633">
                        <a:prstClr val="white"/>
                      </a:gs>
                      <a:gs pos="88757">
                        <a:prstClr val="white"/>
                      </a:gs>
                    </a:gsLst>
                    <a:lin ang="5400000" scaled="1"/>
                  </a:gradFill>
                  <a:latin typeface="Segoe UI Light"/>
                  <a:cs typeface="Times New Roman" panose="02020603050405020304" pitchFamily="18" charset="0"/>
                </a:rPr>
                <a:t>Demand for mobile apps will outstrip dev capacity by 5:1 in 2016 (Gartner)</a:t>
              </a:r>
              <a:endParaRPr lang="en-US" sz="1568" kern="0" dirty="0">
                <a:gradFill>
                  <a:gsLst>
                    <a:gs pos="97633">
                      <a:prstClr val="white"/>
                    </a:gs>
                    <a:gs pos="88757">
                      <a:prstClr val="white"/>
                    </a:gs>
                  </a:gsLst>
                  <a:lin ang="5400000" scaled="1"/>
                </a:gradFill>
                <a:latin typeface="Segoe UI Light"/>
              </a:endParaRPr>
            </a:p>
          </p:txBody>
        </p:sp>
        <p:sp>
          <p:nvSpPr>
            <p:cNvPr id="11" name="Rectangle 10"/>
            <p:cNvSpPr/>
            <p:nvPr/>
          </p:nvSpPr>
          <p:spPr>
            <a:xfrm>
              <a:off x="4846637" y="4705691"/>
              <a:ext cx="2743200" cy="507831"/>
            </a:xfrm>
            <a:prstGeom prst="rect">
              <a:avLst/>
            </a:prstGeom>
          </p:spPr>
          <p:txBody>
            <a:bodyPr wrap="square">
              <a:spAutoFit/>
            </a:bodyPr>
            <a:lstStyle/>
            <a:p>
              <a:pPr defTabSz="913918">
                <a:lnSpc>
                  <a:spcPct val="90000"/>
                </a:lnSpc>
                <a:defRPr/>
              </a:pPr>
              <a:r>
                <a:rPr lang="en-US" sz="2940" kern="0" dirty="0">
                  <a:gradFill>
                    <a:gsLst>
                      <a:gs pos="97633">
                        <a:prstClr val="white"/>
                      </a:gs>
                      <a:gs pos="88757">
                        <a:prstClr val="white"/>
                      </a:gs>
                    </a:gsLst>
                    <a:lin ang="5400000" scaled="1"/>
                  </a:gradFill>
                  <a:latin typeface="Segoe UI"/>
                  <a:cs typeface="Times New Roman" panose="02020603050405020304" pitchFamily="18" charset="0"/>
                </a:rPr>
                <a:t>Dev capacity</a:t>
              </a:r>
              <a:endParaRPr lang="en-US" sz="2940" kern="0" dirty="0">
                <a:gradFill>
                  <a:gsLst>
                    <a:gs pos="97633">
                      <a:prstClr val="white"/>
                    </a:gs>
                    <a:gs pos="88757">
                      <a:prstClr val="white"/>
                    </a:gs>
                  </a:gsLst>
                  <a:lin ang="5400000" scaled="1"/>
                </a:gradFill>
                <a:latin typeface="Segoe UI"/>
              </a:endParaRPr>
            </a:p>
          </p:txBody>
        </p:sp>
      </p:grpSp>
      <p:grpSp>
        <p:nvGrpSpPr>
          <p:cNvPr id="14" name="Group 13"/>
          <p:cNvGrpSpPr/>
          <p:nvPr/>
        </p:nvGrpSpPr>
        <p:grpSpPr>
          <a:xfrm>
            <a:off x="1764408" y="1725623"/>
            <a:ext cx="2688574" cy="3789254"/>
            <a:chOff x="1798637" y="2374219"/>
            <a:chExt cx="2743200" cy="3866243"/>
          </a:xfrm>
        </p:grpSpPr>
        <p:sp>
          <p:nvSpPr>
            <p:cNvPr id="24" name="Oval 23"/>
            <p:cNvSpPr>
              <a:spLocks noChangeAspect="1"/>
            </p:cNvSpPr>
            <p:nvPr/>
          </p:nvSpPr>
          <p:spPr bwMode="auto">
            <a:xfrm flipH="1">
              <a:off x="1873056" y="2374547"/>
              <a:ext cx="1933747" cy="1933748"/>
            </a:xfrm>
            <a:prstGeom prst="ellipse">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2" kern="0" dirty="0">
                <a:gradFill>
                  <a:gsLst>
                    <a:gs pos="97633">
                      <a:prstClr val="white"/>
                    </a:gs>
                    <a:gs pos="88757">
                      <a:prstClr val="white"/>
                    </a:gs>
                  </a:gsLst>
                  <a:lin ang="5400000" scaled="1"/>
                </a:gradFill>
                <a:latin typeface="Segoe UI"/>
                <a:ea typeface="Segoe UI" pitchFamily="34" charset="0"/>
                <a:cs typeface="Segoe UI" pitchFamily="34" charset="0"/>
              </a:endParaRPr>
            </a:p>
          </p:txBody>
        </p:sp>
        <p:sp>
          <p:nvSpPr>
            <p:cNvPr id="15" name="Pie 14"/>
            <p:cNvSpPr>
              <a:spLocks noChangeAspect="1"/>
            </p:cNvSpPr>
            <p:nvPr/>
          </p:nvSpPr>
          <p:spPr bwMode="auto">
            <a:xfrm flipH="1">
              <a:off x="1874837" y="2374219"/>
              <a:ext cx="1933747" cy="1933748"/>
            </a:xfrm>
            <a:prstGeom prst="pie">
              <a:avLst>
                <a:gd name="adj1" fmla="val 6315003"/>
                <a:gd name="adj2" fmla="val 1620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2" kern="0" dirty="0">
                <a:gradFill>
                  <a:gsLst>
                    <a:gs pos="97633">
                      <a:prstClr val="white"/>
                    </a:gs>
                    <a:gs pos="88757">
                      <a:prstClr val="white"/>
                    </a:gs>
                  </a:gsLst>
                  <a:lin ang="5400000" scaled="1"/>
                </a:gradFill>
                <a:latin typeface="Segoe UI"/>
                <a:ea typeface="Segoe UI" pitchFamily="34" charset="0"/>
                <a:cs typeface="Segoe UI" pitchFamily="34" charset="0"/>
              </a:endParaRPr>
            </a:p>
          </p:txBody>
        </p:sp>
        <p:sp>
          <p:nvSpPr>
            <p:cNvPr id="16" name="People text"/>
            <p:cNvSpPr txBox="1"/>
            <p:nvPr/>
          </p:nvSpPr>
          <p:spPr>
            <a:xfrm>
              <a:off x="2510905" y="3035977"/>
              <a:ext cx="1581481" cy="610888"/>
            </a:xfrm>
            <a:prstGeom prst="rect">
              <a:avLst/>
            </a:prstGeom>
            <a:noFill/>
          </p:spPr>
          <p:txBody>
            <a:bodyPr wrap="square" lIns="0" tIns="143370" rIns="0" bIns="143370" rtlCol="0">
              <a:noAutofit/>
            </a:bodyPr>
            <a:lstStyle>
              <a:defPPr>
                <a:defRPr lang="en-US"/>
              </a:defPPr>
              <a:lvl1pPr algn="ctr">
                <a:lnSpc>
                  <a:spcPct val="80000"/>
                </a:lnSpc>
                <a:spcAft>
                  <a:spcPts val="600"/>
                </a:spcAft>
                <a:defRPr sz="3600">
                  <a:gradFill>
                    <a:gsLst>
                      <a:gs pos="47000">
                        <a:srgbClr val="517795"/>
                      </a:gs>
                      <a:gs pos="77000">
                        <a:srgbClr val="517795"/>
                      </a:gs>
                    </a:gsLst>
                    <a:lin ang="5400000" scaled="1"/>
                  </a:gradFill>
                  <a:latin typeface="Segoe UI Semibold" panose="020B0702040204020203" pitchFamily="34" charset="0"/>
                  <a:cs typeface="Segoe UI Semibold" panose="020B0702040204020203" pitchFamily="34" charset="0"/>
                </a:defRPr>
              </a:lvl1pPr>
            </a:lstStyle>
            <a:p>
              <a:pPr defTabSz="913918">
                <a:spcAft>
                  <a:spcPts val="588"/>
                </a:spcAft>
                <a:defRPr/>
              </a:pPr>
              <a:r>
                <a:rPr lang="en-US" sz="2352" kern="0" dirty="0">
                  <a:gradFill>
                    <a:gsLst>
                      <a:gs pos="97633">
                        <a:prstClr val="white"/>
                      </a:gs>
                      <a:gs pos="88757">
                        <a:prstClr val="white"/>
                      </a:gs>
                    </a:gsLst>
                    <a:lin ang="5400000" scaled="1"/>
                  </a:gradFill>
                </a:rPr>
                <a:t>46% </a:t>
              </a:r>
            </a:p>
          </p:txBody>
        </p:sp>
        <p:sp>
          <p:nvSpPr>
            <p:cNvPr id="17" name="Rectangle 16"/>
            <p:cNvSpPr/>
            <p:nvPr/>
          </p:nvSpPr>
          <p:spPr>
            <a:xfrm>
              <a:off x="1798637" y="5261733"/>
              <a:ext cx="2743200" cy="978729"/>
            </a:xfrm>
            <a:prstGeom prst="rect">
              <a:avLst/>
            </a:prstGeom>
          </p:spPr>
          <p:txBody>
            <a:bodyPr wrap="square">
              <a:spAutoFit/>
            </a:bodyPr>
            <a:lstStyle/>
            <a:p>
              <a:pPr marL="0" lvl="1" defTabSz="913918">
                <a:lnSpc>
                  <a:spcPct val="90000"/>
                </a:lnSpc>
                <a:defRPr/>
              </a:pPr>
              <a:r>
                <a:rPr lang="en-US" sz="1568" kern="0" dirty="0">
                  <a:gradFill>
                    <a:gsLst>
                      <a:gs pos="97633">
                        <a:prstClr val="white"/>
                      </a:gs>
                      <a:gs pos="88757">
                        <a:prstClr val="white"/>
                      </a:gs>
                    </a:gsLst>
                    <a:lin ang="5400000" scaled="1"/>
                  </a:gradFill>
                  <a:latin typeface="Segoe UI Light"/>
                </a:rPr>
                <a:t>Nearly half of enterprise customers will be accessing LOB data from 5 or more sources in 2016 (Forrester)</a:t>
              </a:r>
            </a:p>
          </p:txBody>
        </p:sp>
        <p:sp>
          <p:nvSpPr>
            <p:cNvPr id="18" name="Rectangle 17"/>
            <p:cNvSpPr/>
            <p:nvPr/>
          </p:nvSpPr>
          <p:spPr>
            <a:xfrm>
              <a:off x="1798637" y="4724390"/>
              <a:ext cx="2743200" cy="507831"/>
            </a:xfrm>
            <a:prstGeom prst="rect">
              <a:avLst/>
            </a:prstGeom>
          </p:spPr>
          <p:txBody>
            <a:bodyPr wrap="square">
              <a:spAutoFit/>
            </a:bodyPr>
            <a:lstStyle/>
            <a:p>
              <a:pPr marL="0" lvl="1" defTabSz="913918">
                <a:lnSpc>
                  <a:spcPct val="90000"/>
                </a:lnSpc>
                <a:defRPr/>
              </a:pPr>
              <a:r>
                <a:rPr lang="en-US" sz="2940" kern="0" dirty="0">
                  <a:gradFill>
                    <a:gsLst>
                      <a:gs pos="97633">
                        <a:prstClr val="white"/>
                      </a:gs>
                      <a:gs pos="88757">
                        <a:prstClr val="white"/>
                      </a:gs>
                    </a:gsLst>
                    <a:lin ang="5400000" scaled="1"/>
                  </a:gradFill>
                  <a:latin typeface="Segoe UI"/>
                </a:rPr>
                <a:t>Data access</a:t>
              </a:r>
            </a:p>
          </p:txBody>
        </p:sp>
      </p:grpSp>
      <p:grpSp>
        <p:nvGrpSpPr>
          <p:cNvPr id="19" name="Group 18"/>
          <p:cNvGrpSpPr/>
          <p:nvPr/>
        </p:nvGrpSpPr>
        <p:grpSpPr>
          <a:xfrm>
            <a:off x="7888383" y="1755846"/>
            <a:ext cx="2688574" cy="3755375"/>
            <a:chOff x="8047037" y="2405056"/>
            <a:chExt cx="2743200" cy="3831676"/>
          </a:xfrm>
        </p:grpSpPr>
        <p:sp>
          <p:nvSpPr>
            <p:cNvPr id="25" name="Oval 24"/>
            <p:cNvSpPr>
              <a:spLocks noChangeAspect="1"/>
            </p:cNvSpPr>
            <p:nvPr/>
          </p:nvSpPr>
          <p:spPr bwMode="auto">
            <a:xfrm flipH="1">
              <a:off x="8248477" y="2406222"/>
              <a:ext cx="1933748" cy="1933748"/>
            </a:xfrm>
            <a:prstGeom prst="ellipse">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2" kern="0" dirty="0">
                <a:gradFill>
                  <a:gsLst>
                    <a:gs pos="97633">
                      <a:prstClr val="white"/>
                    </a:gs>
                    <a:gs pos="88757">
                      <a:prstClr val="white"/>
                    </a:gs>
                  </a:gsLst>
                  <a:lin ang="5400000" scaled="1"/>
                </a:gradFill>
                <a:latin typeface="Segoe UI"/>
                <a:ea typeface="Segoe UI" pitchFamily="34" charset="0"/>
                <a:cs typeface="Segoe UI" pitchFamily="34" charset="0"/>
              </a:endParaRPr>
            </a:p>
          </p:txBody>
        </p:sp>
        <p:sp>
          <p:nvSpPr>
            <p:cNvPr id="20" name="Pie 19"/>
            <p:cNvSpPr>
              <a:spLocks noChangeAspect="1"/>
            </p:cNvSpPr>
            <p:nvPr/>
          </p:nvSpPr>
          <p:spPr bwMode="auto">
            <a:xfrm flipH="1">
              <a:off x="8248477" y="2405056"/>
              <a:ext cx="1933748" cy="1933748"/>
            </a:xfrm>
            <a:prstGeom prst="pie">
              <a:avLst>
                <a:gd name="adj1" fmla="val 20087401"/>
                <a:gd name="adj2" fmla="val 1620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2" kern="0" dirty="0">
                <a:gradFill>
                  <a:gsLst>
                    <a:gs pos="97633">
                      <a:prstClr val="white"/>
                    </a:gs>
                    <a:gs pos="88757">
                      <a:prstClr val="white"/>
                    </a:gs>
                  </a:gsLst>
                  <a:lin ang="5400000" scaled="1"/>
                </a:gradFill>
                <a:latin typeface="Segoe UI"/>
                <a:ea typeface="Segoe UI" pitchFamily="34" charset="0"/>
                <a:cs typeface="Segoe UI" pitchFamily="34" charset="0"/>
              </a:endParaRPr>
            </a:p>
          </p:txBody>
        </p:sp>
        <p:sp>
          <p:nvSpPr>
            <p:cNvPr id="21" name="People text"/>
            <p:cNvSpPr txBox="1"/>
            <p:nvPr/>
          </p:nvSpPr>
          <p:spPr>
            <a:xfrm>
              <a:off x="8401729" y="3365042"/>
              <a:ext cx="1709367" cy="610888"/>
            </a:xfrm>
            <a:prstGeom prst="rect">
              <a:avLst/>
            </a:prstGeom>
            <a:noFill/>
          </p:spPr>
          <p:txBody>
            <a:bodyPr wrap="square" lIns="0" tIns="143370" rIns="0" bIns="143370" rtlCol="0">
              <a:noAutofit/>
            </a:bodyPr>
            <a:lstStyle>
              <a:defPPr>
                <a:defRPr lang="en-US"/>
              </a:defPPr>
              <a:lvl1pPr algn="ctr">
                <a:lnSpc>
                  <a:spcPct val="80000"/>
                </a:lnSpc>
                <a:spcAft>
                  <a:spcPts val="600"/>
                </a:spcAft>
                <a:defRPr sz="3600">
                  <a:gradFill>
                    <a:gsLst>
                      <a:gs pos="47000">
                        <a:srgbClr val="517795"/>
                      </a:gs>
                      <a:gs pos="77000">
                        <a:srgbClr val="517795"/>
                      </a:gs>
                    </a:gsLst>
                    <a:lin ang="5400000" scaled="1"/>
                  </a:gradFill>
                  <a:latin typeface="Segoe UI Semibold" panose="020B0702040204020203" pitchFamily="34" charset="0"/>
                  <a:cs typeface="Segoe UI Semibold" panose="020B0702040204020203" pitchFamily="34" charset="0"/>
                </a:defRPr>
              </a:lvl1pPr>
            </a:lstStyle>
            <a:p>
              <a:pPr defTabSz="913918">
                <a:spcAft>
                  <a:spcPts val="588"/>
                </a:spcAft>
                <a:defRPr/>
              </a:pPr>
              <a:r>
                <a:rPr lang="en-US" sz="2352" kern="0" dirty="0">
                  <a:gradFill>
                    <a:gsLst>
                      <a:gs pos="97633">
                        <a:prstClr val="white"/>
                      </a:gs>
                      <a:gs pos="88757">
                        <a:prstClr val="white"/>
                      </a:gs>
                    </a:gsLst>
                    <a:lin ang="5400000" scaled="1"/>
                  </a:gradFill>
                </a:rPr>
                <a:t>82%</a:t>
              </a:r>
            </a:p>
          </p:txBody>
        </p:sp>
        <p:sp>
          <p:nvSpPr>
            <p:cNvPr id="22" name="Rectangle 21"/>
            <p:cNvSpPr/>
            <p:nvPr/>
          </p:nvSpPr>
          <p:spPr>
            <a:xfrm>
              <a:off x="8047037" y="5258003"/>
              <a:ext cx="2743200" cy="978729"/>
            </a:xfrm>
            <a:prstGeom prst="rect">
              <a:avLst/>
            </a:prstGeom>
          </p:spPr>
          <p:txBody>
            <a:bodyPr wrap="square">
              <a:spAutoFit/>
            </a:bodyPr>
            <a:lstStyle/>
            <a:p>
              <a:pPr marL="0" lvl="1" defTabSz="913918">
                <a:lnSpc>
                  <a:spcPct val="90000"/>
                </a:lnSpc>
                <a:defRPr/>
              </a:pPr>
              <a:r>
                <a:rPr lang="en-US" sz="1568" kern="0" dirty="0">
                  <a:gradFill>
                    <a:gsLst>
                      <a:gs pos="97633">
                        <a:prstClr val="white"/>
                      </a:gs>
                      <a:gs pos="88757">
                        <a:prstClr val="white"/>
                      </a:gs>
                    </a:gsLst>
                    <a:lin ang="5400000" scaled="1"/>
                  </a:gradFill>
                  <a:latin typeface="Segoe UI Light"/>
                </a:rPr>
                <a:t>82% of IT Dev budgets will </a:t>
              </a:r>
              <a:br>
                <a:rPr lang="en-US" sz="1568" kern="0" dirty="0">
                  <a:gradFill>
                    <a:gsLst>
                      <a:gs pos="97633">
                        <a:prstClr val="white"/>
                      </a:gs>
                      <a:gs pos="88757">
                        <a:prstClr val="white"/>
                      </a:gs>
                    </a:gsLst>
                    <a:lin ang="5400000" scaled="1"/>
                  </a:gradFill>
                  <a:latin typeface="Segoe UI Light"/>
                </a:rPr>
              </a:br>
              <a:r>
                <a:rPr lang="en-US" sz="1568" kern="0" dirty="0">
                  <a:gradFill>
                    <a:gsLst>
                      <a:gs pos="97633">
                        <a:prstClr val="white"/>
                      </a:gs>
                      <a:gs pos="88757">
                        <a:prstClr val="white"/>
                      </a:gs>
                    </a:gsLst>
                    <a:lin ang="5400000" scaled="1"/>
                  </a:gradFill>
                  <a:latin typeface="Segoe UI Light"/>
                </a:rPr>
                <a:t>be committed to supporting legacy LOB systems in 2017 (IDC)</a:t>
              </a:r>
            </a:p>
          </p:txBody>
        </p:sp>
        <p:sp>
          <p:nvSpPr>
            <p:cNvPr id="23" name="Rectangle 22"/>
            <p:cNvSpPr/>
            <p:nvPr/>
          </p:nvSpPr>
          <p:spPr>
            <a:xfrm>
              <a:off x="8047037" y="4720660"/>
              <a:ext cx="2743200" cy="507831"/>
            </a:xfrm>
            <a:prstGeom prst="rect">
              <a:avLst/>
            </a:prstGeom>
          </p:spPr>
          <p:txBody>
            <a:bodyPr wrap="square">
              <a:spAutoFit/>
            </a:bodyPr>
            <a:lstStyle/>
            <a:p>
              <a:pPr marL="0" lvl="1" defTabSz="913918">
                <a:lnSpc>
                  <a:spcPct val="90000"/>
                </a:lnSpc>
                <a:defRPr/>
              </a:pPr>
              <a:r>
                <a:rPr lang="en-US" sz="2940" kern="0" dirty="0">
                  <a:gradFill>
                    <a:gsLst>
                      <a:gs pos="97633">
                        <a:prstClr val="white"/>
                      </a:gs>
                      <a:gs pos="88757">
                        <a:prstClr val="white"/>
                      </a:gs>
                    </a:gsLst>
                    <a:lin ang="5400000" scaled="1"/>
                  </a:gradFill>
                  <a:latin typeface="Segoe UI"/>
                </a:rPr>
                <a:t>IT agility</a:t>
              </a:r>
            </a:p>
          </p:txBody>
        </p:sp>
      </p:grpSp>
    </p:spTree>
    <p:extLst>
      <p:ext uri="{BB962C8B-B14F-4D97-AF65-F5344CB8AC3E}">
        <p14:creationId xmlns:p14="http://schemas.microsoft.com/office/powerpoint/2010/main" val="21926663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p:cNvSpPr/>
          <p:nvPr/>
        </p:nvSpPr>
        <p:spPr>
          <a:xfrm>
            <a:off x="774693" y="387633"/>
            <a:ext cx="10642616" cy="11969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4040">
              <a:defRPr/>
            </a:pPr>
            <a:endParaRPr lang="en-US" sz="1960" kern="0" dirty="0">
              <a:solidFill>
                <a:prstClr val="white"/>
              </a:solidFill>
              <a:latin typeface="Segoe UI"/>
            </a:endParaRPr>
          </a:p>
        </p:txBody>
      </p:sp>
      <p:sp>
        <p:nvSpPr>
          <p:cNvPr id="16" name="TextBox 15"/>
          <p:cNvSpPr txBox="1"/>
          <p:nvPr/>
        </p:nvSpPr>
        <p:spPr>
          <a:xfrm>
            <a:off x="942900" y="458504"/>
            <a:ext cx="10231518" cy="1055767"/>
          </a:xfrm>
          <a:prstGeom prst="rect">
            <a:avLst/>
          </a:prstGeom>
          <a:noFill/>
        </p:spPr>
        <p:txBody>
          <a:bodyPr wrap="square" rtlCol="0">
            <a:spAutoFit/>
          </a:bodyPr>
          <a:lstStyle/>
          <a:p>
            <a:pPr algn="ctr" defTabSz="914040">
              <a:defRPr/>
            </a:pPr>
            <a:r>
              <a:rPr lang="en-US" sz="3136" kern="0" dirty="0">
                <a:gradFill>
                  <a:gsLst>
                    <a:gs pos="91216">
                      <a:srgbClr val="505050"/>
                    </a:gs>
                    <a:gs pos="77703">
                      <a:srgbClr val="505050"/>
                    </a:gs>
                  </a:gsLst>
                  <a:lin ang="5400000" scaled="0"/>
                </a:gradFill>
                <a:latin typeface="Segoe UI Light" panose="020B0502040204020203" pitchFamily="34" charset="0"/>
                <a:cs typeface="Segoe UI Light" panose="020B0502040204020203" pitchFamily="34" charset="0"/>
              </a:rPr>
              <a:t>Use PowerApps to rapidly connect and create</a:t>
            </a:r>
            <a:br>
              <a:rPr lang="en-US" sz="3136" kern="0" dirty="0">
                <a:gradFill>
                  <a:gsLst>
                    <a:gs pos="91216">
                      <a:srgbClr val="505050"/>
                    </a:gs>
                    <a:gs pos="77703">
                      <a:srgbClr val="505050"/>
                    </a:gs>
                  </a:gsLst>
                  <a:lin ang="5400000" scaled="0"/>
                </a:gradFill>
                <a:latin typeface="Segoe UI Light" panose="020B0502040204020203" pitchFamily="34" charset="0"/>
                <a:cs typeface="Segoe UI Light" panose="020B0502040204020203" pitchFamily="34" charset="0"/>
              </a:rPr>
            </a:br>
            <a:r>
              <a:rPr lang="en-US" sz="3136" kern="0" dirty="0">
                <a:gradFill>
                  <a:gsLst>
                    <a:gs pos="91216">
                      <a:srgbClr val="505050"/>
                    </a:gs>
                    <a:gs pos="77703">
                      <a:srgbClr val="505050"/>
                    </a:gs>
                  </a:gsLst>
                  <a:lin ang="5400000" scaled="0"/>
                </a:gradFill>
                <a:latin typeface="Segoe UI Light" panose="020B0502040204020203" pitchFamily="34" charset="0"/>
                <a:cs typeface="Segoe UI Light" panose="020B0502040204020203" pitchFamily="34" charset="0"/>
              </a:rPr>
              <a:t>new apps </a:t>
            </a:r>
            <a:r>
              <a:rPr lang="en-US" sz="3136" kern="0" dirty="0">
                <a:gradFill>
                  <a:gsLst>
                    <a:gs pos="95946">
                      <a:srgbClr val="0072C6"/>
                    </a:gs>
                    <a:gs pos="77703">
                      <a:srgbClr val="0072C6"/>
                    </a:gs>
                  </a:gsLst>
                  <a:lin ang="5400000" scaled="0"/>
                </a:gradFill>
                <a:latin typeface="Segoe UI" panose="020B0502040204020203" pitchFamily="34" charset="0"/>
                <a:cs typeface="Segoe UI" panose="020B0502040204020203" pitchFamily="34" charset="0"/>
              </a:rPr>
              <a:t>across your business systems </a:t>
            </a:r>
          </a:p>
        </p:txBody>
      </p:sp>
      <p:grpSp>
        <p:nvGrpSpPr>
          <p:cNvPr id="28" name="Group 27"/>
          <p:cNvGrpSpPr/>
          <p:nvPr/>
        </p:nvGrpSpPr>
        <p:grpSpPr>
          <a:xfrm>
            <a:off x="756194" y="2194504"/>
            <a:ext cx="3174011" cy="4182227"/>
            <a:chOff x="769937" y="1820862"/>
            <a:chExt cx="3238500" cy="4267200"/>
          </a:xfrm>
        </p:grpSpPr>
        <p:pic>
          <p:nvPicPr>
            <p:cNvPr id="30" name="Picture 29"/>
            <p:cNvPicPr>
              <a:picLocks noChangeAspect="1"/>
            </p:cNvPicPr>
            <p:nvPr/>
          </p:nvPicPr>
          <p:blipFill rotWithShape="1">
            <a:blip r:embed="rId3">
              <a:extLst>
                <a:ext uri="{28A0092B-C50C-407E-A947-70E740481C1C}">
                  <a14:useLocalDpi xmlns:a14="http://schemas.microsoft.com/office/drawing/2010/main" val="0"/>
                </a:ext>
              </a:extLst>
            </a:blip>
            <a:srcRect l="33636" t="19232" r="35169" b="17759"/>
            <a:stretch/>
          </p:blipFill>
          <p:spPr>
            <a:xfrm>
              <a:off x="1112837" y="1820862"/>
              <a:ext cx="2535150" cy="3200400"/>
            </a:xfrm>
            <a:prstGeom prst="rect">
              <a:avLst/>
            </a:prstGeom>
            <a:ln>
              <a:noFill/>
            </a:ln>
            <a:effectLst>
              <a:outerShdw blurRad="292100" dist="139700" dir="2700000" algn="tl" rotWithShape="0">
                <a:srgbClr val="333333">
                  <a:alpha val="65000"/>
                </a:srgbClr>
              </a:outerShdw>
            </a:effectLst>
          </p:spPr>
        </p:pic>
        <p:sp>
          <p:nvSpPr>
            <p:cNvPr id="31" name="TextBox 30"/>
            <p:cNvSpPr txBox="1"/>
            <p:nvPr/>
          </p:nvSpPr>
          <p:spPr>
            <a:xfrm>
              <a:off x="769937" y="5318621"/>
              <a:ext cx="3238500" cy="769441"/>
            </a:xfrm>
            <a:prstGeom prst="rect">
              <a:avLst/>
            </a:prstGeom>
            <a:noFill/>
          </p:spPr>
          <p:txBody>
            <a:bodyPr wrap="square" rtlCol="0">
              <a:spAutoFit/>
            </a:bodyPr>
            <a:lstStyle/>
            <a:p>
              <a:pPr algn="ctr" defTabSz="896117">
                <a:defRPr/>
              </a:pPr>
              <a:r>
                <a:rPr lang="en-US" sz="2156" kern="0" dirty="0">
                  <a:solidFill>
                    <a:prstClr val="white"/>
                  </a:solidFill>
                  <a:latin typeface="Segoe UI Light"/>
                  <a:cs typeface="Segoe UI" panose="020B0502040204020203" pitchFamily="34" charset="0"/>
                </a:rPr>
                <a:t>integrate existing sources or capture new data</a:t>
              </a:r>
              <a:endParaRPr lang="en-US" sz="2156" kern="0" dirty="0">
                <a:solidFill>
                  <a:prstClr val="white"/>
                </a:solidFill>
                <a:latin typeface="Segoe UI" panose="020B0502040204020203" pitchFamily="34" charset="0"/>
                <a:cs typeface="Segoe UI" panose="020B0502040204020203" pitchFamily="34" charset="0"/>
              </a:endParaRPr>
            </a:p>
          </p:txBody>
        </p:sp>
      </p:grpSp>
      <p:grpSp>
        <p:nvGrpSpPr>
          <p:cNvPr id="33" name="Group 32"/>
          <p:cNvGrpSpPr/>
          <p:nvPr/>
        </p:nvGrpSpPr>
        <p:grpSpPr>
          <a:xfrm>
            <a:off x="8336480" y="2194504"/>
            <a:ext cx="3164677" cy="4191896"/>
            <a:chOff x="4208461" y="1820862"/>
            <a:chExt cx="3228976" cy="4277066"/>
          </a:xfrm>
        </p:grpSpPr>
        <p:pic>
          <p:nvPicPr>
            <p:cNvPr id="34" name="Picture 3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22837" y="1820862"/>
              <a:ext cx="1800225" cy="3200400"/>
            </a:xfrm>
            <a:prstGeom prst="rect">
              <a:avLst/>
            </a:prstGeom>
            <a:ln>
              <a:noFill/>
            </a:ln>
            <a:effectLst>
              <a:outerShdw blurRad="292100" dist="139700" dir="2700000" algn="tl" rotWithShape="0">
                <a:srgbClr val="333333">
                  <a:alpha val="65000"/>
                </a:srgbClr>
              </a:outerShdw>
            </a:effectLst>
          </p:spPr>
        </p:pic>
        <p:sp>
          <p:nvSpPr>
            <p:cNvPr id="36" name="TextBox 35"/>
            <p:cNvSpPr txBox="1"/>
            <p:nvPr/>
          </p:nvSpPr>
          <p:spPr>
            <a:xfrm>
              <a:off x="4208461" y="5328487"/>
              <a:ext cx="3228976" cy="769441"/>
            </a:xfrm>
            <a:prstGeom prst="rect">
              <a:avLst/>
            </a:prstGeom>
            <a:noFill/>
          </p:spPr>
          <p:txBody>
            <a:bodyPr wrap="square" rtlCol="0">
              <a:spAutoFit/>
            </a:bodyPr>
            <a:lstStyle/>
            <a:p>
              <a:pPr algn="ctr" defTabSz="896117">
                <a:defRPr/>
              </a:pPr>
              <a:r>
                <a:rPr lang="en-US" sz="2156" kern="0" dirty="0">
                  <a:solidFill>
                    <a:prstClr val="white"/>
                  </a:solidFill>
                  <a:latin typeface="Segoe UI Light"/>
                  <a:cs typeface="Segoe UI" panose="020B0502040204020203" pitchFamily="34" charset="0"/>
                </a:rPr>
                <a:t>instantly publish to your team on any device</a:t>
              </a:r>
              <a:endParaRPr lang="en-US" sz="2156" kern="0" dirty="0">
                <a:solidFill>
                  <a:prstClr val="white"/>
                </a:solidFill>
                <a:latin typeface="Segoe UI" panose="020B0502040204020203" pitchFamily="34" charset="0"/>
                <a:cs typeface="Segoe UI" panose="020B0502040204020203" pitchFamily="34" charset="0"/>
              </a:endParaRPr>
            </a:p>
          </p:txBody>
        </p:sp>
      </p:grpSp>
      <p:grpSp>
        <p:nvGrpSpPr>
          <p:cNvPr id="38" name="Group 37"/>
          <p:cNvGrpSpPr/>
          <p:nvPr/>
        </p:nvGrpSpPr>
        <p:grpSpPr>
          <a:xfrm>
            <a:off x="4572396" y="2194505"/>
            <a:ext cx="3322477" cy="4191895"/>
            <a:chOff x="7845512" y="1820862"/>
            <a:chExt cx="3389982" cy="4277065"/>
          </a:xfrm>
        </p:grpSpPr>
        <p:pic>
          <p:nvPicPr>
            <p:cNvPr id="39" name="Picture 38"/>
            <p:cNvPicPr>
              <a:picLocks noChangeAspect="1"/>
            </p:cNvPicPr>
            <p:nvPr/>
          </p:nvPicPr>
          <p:blipFill>
            <a:blip r:embed="rId5"/>
            <a:stretch>
              <a:fillRect/>
            </a:stretch>
          </p:blipFill>
          <p:spPr>
            <a:xfrm>
              <a:off x="7845512" y="1820862"/>
              <a:ext cx="3389982" cy="3200400"/>
            </a:xfrm>
            <a:prstGeom prst="rect">
              <a:avLst/>
            </a:prstGeom>
            <a:ln>
              <a:noFill/>
            </a:ln>
            <a:effectLst>
              <a:outerShdw blurRad="292100" dist="139700" dir="2700000" algn="tl" rotWithShape="0">
                <a:srgbClr val="333333">
                  <a:alpha val="65000"/>
                </a:srgbClr>
              </a:outerShdw>
            </a:effectLst>
          </p:spPr>
        </p:pic>
        <p:sp>
          <p:nvSpPr>
            <p:cNvPr id="43" name="TextBox 42"/>
            <p:cNvSpPr txBox="1"/>
            <p:nvPr/>
          </p:nvSpPr>
          <p:spPr>
            <a:xfrm>
              <a:off x="7909769" y="5328486"/>
              <a:ext cx="3261468" cy="769441"/>
            </a:xfrm>
            <a:prstGeom prst="rect">
              <a:avLst/>
            </a:prstGeom>
            <a:noFill/>
          </p:spPr>
          <p:txBody>
            <a:bodyPr wrap="square" rtlCol="0">
              <a:spAutoFit/>
            </a:bodyPr>
            <a:lstStyle/>
            <a:p>
              <a:pPr algn="ctr" defTabSz="896117">
                <a:defRPr/>
              </a:pPr>
              <a:r>
                <a:rPr lang="en-US" sz="2156" kern="0" dirty="0">
                  <a:solidFill>
                    <a:prstClr val="white"/>
                  </a:solidFill>
                  <a:latin typeface="Segoe UI Light"/>
                  <a:cs typeface="Segoe UI" panose="020B0502040204020203" pitchFamily="34" charset="0"/>
                </a:rPr>
                <a:t>create mobile forms and experiences without code</a:t>
              </a:r>
              <a:endParaRPr lang="en-US" sz="2156" kern="0" dirty="0">
                <a:solidFill>
                  <a:prstClr val="white"/>
                </a:solidFill>
                <a:latin typeface="Segoe UI" panose="020B0502040204020203" pitchFamily="34" charset="0"/>
                <a:cs typeface="Segoe UI" panose="020B0502040204020203" pitchFamily="34" charset="0"/>
              </a:endParaRPr>
            </a:p>
          </p:txBody>
        </p:sp>
      </p:grpSp>
      <p:grpSp>
        <p:nvGrpSpPr>
          <p:cNvPr id="46" name="Group 45"/>
          <p:cNvGrpSpPr/>
          <p:nvPr/>
        </p:nvGrpSpPr>
        <p:grpSpPr>
          <a:xfrm>
            <a:off x="8663271" y="1955701"/>
            <a:ext cx="746719" cy="746720"/>
            <a:chOff x="-4354857" y="2732953"/>
            <a:chExt cx="761891" cy="761892"/>
          </a:xfrm>
        </p:grpSpPr>
        <p:sp>
          <p:nvSpPr>
            <p:cNvPr id="47" name="Oval 46"/>
            <p:cNvSpPr/>
            <p:nvPr/>
          </p:nvSpPr>
          <p:spPr bwMode="auto">
            <a:xfrm>
              <a:off x="-4354857" y="2732953"/>
              <a:ext cx="761891" cy="76189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23" fontAlgn="base">
                <a:lnSpc>
                  <a:spcPct val="90000"/>
                </a:lnSpc>
                <a:spcBef>
                  <a:spcPct val="0"/>
                </a:spcBef>
                <a:spcAft>
                  <a:spcPct val="0"/>
                </a:spcAft>
                <a:defRPr/>
              </a:pPr>
              <a:endParaRPr lang="en-US" sz="2352" kern="0" dirty="0">
                <a:gradFill>
                  <a:gsLst>
                    <a:gs pos="86982">
                      <a:srgbClr val="505050"/>
                    </a:gs>
                    <a:gs pos="69822">
                      <a:srgbClr val="505050"/>
                    </a:gs>
                  </a:gsLst>
                  <a:lin ang="5400000" scaled="0"/>
                </a:gradFill>
                <a:latin typeface="Segoe UI"/>
                <a:ea typeface="Segoe UI" pitchFamily="34" charset="0"/>
                <a:cs typeface="Segoe UI" pitchFamily="34" charset="0"/>
              </a:endParaRPr>
            </a:p>
          </p:txBody>
        </p:sp>
        <p:grpSp>
          <p:nvGrpSpPr>
            <p:cNvPr id="48" name="Group 4"/>
            <p:cNvGrpSpPr>
              <a:grpSpLocks noChangeAspect="1"/>
            </p:cNvGrpSpPr>
            <p:nvPr/>
          </p:nvGrpSpPr>
          <p:grpSpPr bwMode="auto">
            <a:xfrm>
              <a:off x="-4195956" y="2883326"/>
              <a:ext cx="444088" cy="461146"/>
              <a:chOff x="1575" y="-339"/>
              <a:chExt cx="4686" cy="4866"/>
            </a:xfrm>
            <a:solidFill>
              <a:schemeClr val="bg1"/>
            </a:solidFill>
          </p:grpSpPr>
          <p:sp>
            <p:nvSpPr>
              <p:cNvPr id="54" name="Freeform 5"/>
              <p:cNvSpPr>
                <a:spLocks/>
              </p:cNvSpPr>
              <p:nvPr/>
            </p:nvSpPr>
            <p:spPr bwMode="auto">
              <a:xfrm>
                <a:off x="2211" y="-339"/>
                <a:ext cx="3411" cy="4866"/>
              </a:xfrm>
              <a:custGeom>
                <a:avLst/>
                <a:gdLst>
                  <a:gd name="T0" fmla="*/ 1182 w 1442"/>
                  <a:gd name="T1" fmla="*/ 187 h 2057"/>
                  <a:gd name="T2" fmla="*/ 826 w 1442"/>
                  <a:gd name="T3" fmla="*/ 652 h 2057"/>
                  <a:gd name="T4" fmla="*/ 617 w 1442"/>
                  <a:gd name="T5" fmla="*/ 652 h 2057"/>
                  <a:gd name="T6" fmla="*/ 260 w 1442"/>
                  <a:gd name="T7" fmla="*/ 187 h 2057"/>
                  <a:gd name="T8" fmla="*/ 170 w 1442"/>
                  <a:gd name="T9" fmla="*/ 249 h 2057"/>
                  <a:gd name="T10" fmla="*/ 537 w 1442"/>
                  <a:gd name="T11" fmla="*/ 782 h 2057"/>
                  <a:gd name="T12" fmla="*/ 537 w 1442"/>
                  <a:gd name="T13" fmla="*/ 1955 h 2057"/>
                  <a:gd name="T14" fmla="*/ 537 w 1442"/>
                  <a:gd name="T15" fmla="*/ 2057 h 2057"/>
                  <a:gd name="T16" fmla="*/ 690 w 1442"/>
                  <a:gd name="T17" fmla="*/ 2057 h 2057"/>
                  <a:gd name="T18" fmla="*/ 690 w 1442"/>
                  <a:gd name="T19" fmla="*/ 1955 h 2057"/>
                  <a:gd name="T20" fmla="*/ 690 w 1442"/>
                  <a:gd name="T21" fmla="*/ 1354 h 2057"/>
                  <a:gd name="T22" fmla="*/ 752 w 1442"/>
                  <a:gd name="T23" fmla="*/ 1354 h 2057"/>
                  <a:gd name="T24" fmla="*/ 752 w 1442"/>
                  <a:gd name="T25" fmla="*/ 1955 h 2057"/>
                  <a:gd name="T26" fmla="*/ 752 w 1442"/>
                  <a:gd name="T27" fmla="*/ 2057 h 2057"/>
                  <a:gd name="T28" fmla="*/ 905 w 1442"/>
                  <a:gd name="T29" fmla="*/ 2057 h 2057"/>
                  <a:gd name="T30" fmla="*/ 905 w 1442"/>
                  <a:gd name="T31" fmla="*/ 1955 h 2057"/>
                  <a:gd name="T32" fmla="*/ 905 w 1442"/>
                  <a:gd name="T33" fmla="*/ 782 h 2057"/>
                  <a:gd name="T34" fmla="*/ 1272 w 1442"/>
                  <a:gd name="T35" fmla="*/ 249 h 2057"/>
                  <a:gd name="T36" fmla="*/ 1182 w 1442"/>
                  <a:gd name="T37" fmla="*/ 187 h 2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42" h="2057">
                    <a:moveTo>
                      <a:pt x="1182" y="187"/>
                    </a:moveTo>
                    <a:cubicBezTo>
                      <a:pt x="1103" y="328"/>
                      <a:pt x="962" y="504"/>
                      <a:pt x="826" y="652"/>
                    </a:cubicBezTo>
                    <a:cubicBezTo>
                      <a:pt x="617" y="652"/>
                      <a:pt x="617" y="652"/>
                      <a:pt x="617" y="652"/>
                    </a:cubicBezTo>
                    <a:cubicBezTo>
                      <a:pt x="481" y="504"/>
                      <a:pt x="340" y="328"/>
                      <a:pt x="260" y="187"/>
                    </a:cubicBezTo>
                    <a:cubicBezTo>
                      <a:pt x="249" y="0"/>
                      <a:pt x="0" y="124"/>
                      <a:pt x="170" y="249"/>
                    </a:cubicBezTo>
                    <a:cubicBezTo>
                      <a:pt x="283" y="425"/>
                      <a:pt x="396" y="589"/>
                      <a:pt x="537" y="782"/>
                    </a:cubicBezTo>
                    <a:cubicBezTo>
                      <a:pt x="537" y="782"/>
                      <a:pt x="537" y="1757"/>
                      <a:pt x="537" y="1955"/>
                    </a:cubicBezTo>
                    <a:cubicBezTo>
                      <a:pt x="617" y="1955"/>
                      <a:pt x="537" y="1972"/>
                      <a:pt x="537" y="2057"/>
                    </a:cubicBezTo>
                    <a:cubicBezTo>
                      <a:pt x="690" y="2057"/>
                      <a:pt x="690" y="2057"/>
                      <a:pt x="690" y="2057"/>
                    </a:cubicBezTo>
                    <a:cubicBezTo>
                      <a:pt x="690" y="1972"/>
                      <a:pt x="605" y="1955"/>
                      <a:pt x="690" y="1955"/>
                    </a:cubicBezTo>
                    <a:cubicBezTo>
                      <a:pt x="690" y="1354"/>
                      <a:pt x="690" y="1354"/>
                      <a:pt x="690" y="1354"/>
                    </a:cubicBezTo>
                    <a:cubicBezTo>
                      <a:pt x="752" y="1354"/>
                      <a:pt x="752" y="1354"/>
                      <a:pt x="752" y="1354"/>
                    </a:cubicBezTo>
                    <a:cubicBezTo>
                      <a:pt x="752" y="1955"/>
                      <a:pt x="752" y="1955"/>
                      <a:pt x="752" y="1955"/>
                    </a:cubicBezTo>
                    <a:cubicBezTo>
                      <a:pt x="843" y="1955"/>
                      <a:pt x="752" y="1972"/>
                      <a:pt x="752" y="2057"/>
                    </a:cubicBezTo>
                    <a:cubicBezTo>
                      <a:pt x="905" y="2057"/>
                      <a:pt x="905" y="2057"/>
                      <a:pt x="905" y="2057"/>
                    </a:cubicBezTo>
                    <a:cubicBezTo>
                      <a:pt x="905" y="1972"/>
                      <a:pt x="826" y="1955"/>
                      <a:pt x="905" y="1955"/>
                    </a:cubicBezTo>
                    <a:cubicBezTo>
                      <a:pt x="905" y="1757"/>
                      <a:pt x="905" y="782"/>
                      <a:pt x="905" y="782"/>
                    </a:cubicBezTo>
                    <a:cubicBezTo>
                      <a:pt x="1046" y="589"/>
                      <a:pt x="1159" y="425"/>
                      <a:pt x="1272" y="249"/>
                    </a:cubicBezTo>
                    <a:cubicBezTo>
                      <a:pt x="1442" y="124"/>
                      <a:pt x="1193" y="0"/>
                      <a:pt x="1182" y="1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56" name="Oval 6"/>
              <p:cNvSpPr>
                <a:spLocks noChangeArrowheads="1"/>
              </p:cNvSpPr>
              <p:nvPr/>
            </p:nvSpPr>
            <p:spPr bwMode="auto">
              <a:xfrm>
                <a:off x="3579" y="196"/>
                <a:ext cx="688" cy="79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57" name="Oval 7"/>
              <p:cNvSpPr>
                <a:spLocks noChangeArrowheads="1"/>
              </p:cNvSpPr>
              <p:nvPr/>
            </p:nvSpPr>
            <p:spPr bwMode="auto">
              <a:xfrm>
                <a:off x="2708" y="1492"/>
                <a:ext cx="525" cy="6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58" name="Oval 8"/>
              <p:cNvSpPr>
                <a:spLocks noChangeArrowheads="1"/>
              </p:cNvSpPr>
              <p:nvPr/>
            </p:nvSpPr>
            <p:spPr bwMode="auto">
              <a:xfrm>
                <a:off x="2091" y="1341"/>
                <a:ext cx="395" cy="4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59" name="Oval 9"/>
              <p:cNvSpPr>
                <a:spLocks noChangeArrowheads="1"/>
              </p:cNvSpPr>
              <p:nvPr/>
            </p:nvSpPr>
            <p:spPr bwMode="auto">
              <a:xfrm>
                <a:off x="1594" y="1189"/>
                <a:ext cx="305" cy="35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60" name="Freeform 10"/>
              <p:cNvSpPr>
                <a:spLocks/>
              </p:cNvSpPr>
              <p:nvPr/>
            </p:nvSpPr>
            <p:spPr bwMode="auto">
              <a:xfrm>
                <a:off x="2668" y="2270"/>
                <a:ext cx="608" cy="1287"/>
              </a:xfrm>
              <a:custGeom>
                <a:avLst/>
                <a:gdLst>
                  <a:gd name="T0" fmla="*/ 257 w 257"/>
                  <a:gd name="T1" fmla="*/ 74 h 544"/>
                  <a:gd name="T2" fmla="*/ 177 w 257"/>
                  <a:gd name="T3" fmla="*/ 0 h 544"/>
                  <a:gd name="T4" fmla="*/ 80 w 257"/>
                  <a:gd name="T5" fmla="*/ 0 h 544"/>
                  <a:gd name="T6" fmla="*/ 0 w 257"/>
                  <a:gd name="T7" fmla="*/ 74 h 544"/>
                  <a:gd name="T8" fmla="*/ 0 w 257"/>
                  <a:gd name="T9" fmla="*/ 363 h 544"/>
                  <a:gd name="T10" fmla="*/ 257 w 257"/>
                  <a:gd name="T11" fmla="*/ 470 h 544"/>
                  <a:gd name="T12" fmla="*/ 257 w 257"/>
                  <a:gd name="T13" fmla="*/ 74 h 544"/>
                </a:gdLst>
                <a:ahLst/>
                <a:cxnLst>
                  <a:cxn ang="0">
                    <a:pos x="T0" y="T1"/>
                  </a:cxn>
                  <a:cxn ang="0">
                    <a:pos x="T2" y="T3"/>
                  </a:cxn>
                  <a:cxn ang="0">
                    <a:pos x="T4" y="T5"/>
                  </a:cxn>
                  <a:cxn ang="0">
                    <a:pos x="T6" y="T7"/>
                  </a:cxn>
                  <a:cxn ang="0">
                    <a:pos x="T8" y="T9"/>
                  </a:cxn>
                  <a:cxn ang="0">
                    <a:pos x="T10" y="T11"/>
                  </a:cxn>
                  <a:cxn ang="0">
                    <a:pos x="T12" y="T13"/>
                  </a:cxn>
                </a:cxnLst>
                <a:rect l="0" t="0" r="r" b="b"/>
                <a:pathLst>
                  <a:path w="257" h="544">
                    <a:moveTo>
                      <a:pt x="257" y="74"/>
                    </a:moveTo>
                    <a:cubicBezTo>
                      <a:pt x="257" y="34"/>
                      <a:pt x="222" y="0"/>
                      <a:pt x="177" y="0"/>
                    </a:cubicBezTo>
                    <a:cubicBezTo>
                      <a:pt x="80" y="0"/>
                      <a:pt x="80" y="0"/>
                      <a:pt x="80" y="0"/>
                    </a:cubicBezTo>
                    <a:cubicBezTo>
                      <a:pt x="34" y="0"/>
                      <a:pt x="0" y="34"/>
                      <a:pt x="0" y="74"/>
                    </a:cubicBezTo>
                    <a:cubicBezTo>
                      <a:pt x="0" y="74"/>
                      <a:pt x="0" y="295"/>
                      <a:pt x="0" y="363"/>
                    </a:cubicBezTo>
                    <a:cubicBezTo>
                      <a:pt x="0" y="447"/>
                      <a:pt x="257" y="544"/>
                      <a:pt x="257" y="470"/>
                    </a:cubicBezTo>
                    <a:cubicBezTo>
                      <a:pt x="257" y="351"/>
                      <a:pt x="257" y="74"/>
                      <a:pt x="257"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61" name="Freeform 11"/>
              <p:cNvSpPr>
                <a:spLocks/>
              </p:cNvSpPr>
              <p:nvPr/>
            </p:nvSpPr>
            <p:spPr bwMode="auto">
              <a:xfrm>
                <a:off x="2060" y="1927"/>
                <a:ext cx="445" cy="1235"/>
              </a:xfrm>
              <a:custGeom>
                <a:avLst/>
                <a:gdLst>
                  <a:gd name="T0" fmla="*/ 188 w 188"/>
                  <a:gd name="T1" fmla="*/ 57 h 522"/>
                  <a:gd name="T2" fmla="*/ 131 w 188"/>
                  <a:gd name="T3" fmla="*/ 0 h 522"/>
                  <a:gd name="T4" fmla="*/ 57 w 188"/>
                  <a:gd name="T5" fmla="*/ 0 h 522"/>
                  <a:gd name="T6" fmla="*/ 0 w 188"/>
                  <a:gd name="T7" fmla="*/ 57 h 522"/>
                  <a:gd name="T8" fmla="*/ 0 w 188"/>
                  <a:gd name="T9" fmla="*/ 340 h 522"/>
                  <a:gd name="T10" fmla="*/ 188 w 188"/>
                  <a:gd name="T11" fmla="*/ 465 h 522"/>
                  <a:gd name="T12" fmla="*/ 188 w 188"/>
                  <a:gd name="T13" fmla="*/ 57 h 522"/>
                </a:gdLst>
                <a:ahLst/>
                <a:cxnLst>
                  <a:cxn ang="0">
                    <a:pos x="T0" y="T1"/>
                  </a:cxn>
                  <a:cxn ang="0">
                    <a:pos x="T2" y="T3"/>
                  </a:cxn>
                  <a:cxn ang="0">
                    <a:pos x="T4" y="T5"/>
                  </a:cxn>
                  <a:cxn ang="0">
                    <a:pos x="T6" y="T7"/>
                  </a:cxn>
                  <a:cxn ang="0">
                    <a:pos x="T8" y="T9"/>
                  </a:cxn>
                  <a:cxn ang="0">
                    <a:pos x="T10" y="T11"/>
                  </a:cxn>
                  <a:cxn ang="0">
                    <a:pos x="T12" y="T13"/>
                  </a:cxn>
                </a:cxnLst>
                <a:rect l="0" t="0" r="r" b="b"/>
                <a:pathLst>
                  <a:path w="188" h="522">
                    <a:moveTo>
                      <a:pt x="188" y="57"/>
                    </a:moveTo>
                    <a:cubicBezTo>
                      <a:pt x="188" y="28"/>
                      <a:pt x="166" y="0"/>
                      <a:pt x="131" y="0"/>
                    </a:cubicBezTo>
                    <a:cubicBezTo>
                      <a:pt x="57" y="0"/>
                      <a:pt x="57" y="0"/>
                      <a:pt x="57" y="0"/>
                    </a:cubicBezTo>
                    <a:cubicBezTo>
                      <a:pt x="23" y="0"/>
                      <a:pt x="0" y="28"/>
                      <a:pt x="0" y="57"/>
                    </a:cubicBezTo>
                    <a:cubicBezTo>
                      <a:pt x="0" y="57"/>
                      <a:pt x="0" y="272"/>
                      <a:pt x="0" y="340"/>
                    </a:cubicBezTo>
                    <a:cubicBezTo>
                      <a:pt x="0" y="397"/>
                      <a:pt x="188" y="522"/>
                      <a:pt x="188" y="465"/>
                    </a:cubicBezTo>
                    <a:cubicBezTo>
                      <a:pt x="188" y="346"/>
                      <a:pt x="188" y="57"/>
                      <a:pt x="188"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62" name="Freeform 12"/>
              <p:cNvSpPr>
                <a:spLocks/>
              </p:cNvSpPr>
              <p:nvPr/>
            </p:nvSpPr>
            <p:spPr bwMode="auto">
              <a:xfrm>
                <a:off x="1575" y="1684"/>
                <a:ext cx="324" cy="1033"/>
              </a:xfrm>
              <a:custGeom>
                <a:avLst/>
                <a:gdLst>
                  <a:gd name="T0" fmla="*/ 137 w 137"/>
                  <a:gd name="T1" fmla="*/ 40 h 437"/>
                  <a:gd name="T2" fmla="*/ 95 w 137"/>
                  <a:gd name="T3" fmla="*/ 0 h 437"/>
                  <a:gd name="T4" fmla="*/ 42 w 137"/>
                  <a:gd name="T5" fmla="*/ 0 h 437"/>
                  <a:gd name="T6" fmla="*/ 0 w 137"/>
                  <a:gd name="T7" fmla="*/ 40 h 437"/>
                  <a:gd name="T8" fmla="*/ 0 w 137"/>
                  <a:gd name="T9" fmla="*/ 312 h 437"/>
                  <a:gd name="T10" fmla="*/ 137 w 137"/>
                  <a:gd name="T11" fmla="*/ 397 h 437"/>
                  <a:gd name="T12" fmla="*/ 137 w 137"/>
                  <a:gd name="T13" fmla="*/ 40 h 437"/>
                </a:gdLst>
                <a:ahLst/>
                <a:cxnLst>
                  <a:cxn ang="0">
                    <a:pos x="T0" y="T1"/>
                  </a:cxn>
                  <a:cxn ang="0">
                    <a:pos x="T2" y="T3"/>
                  </a:cxn>
                  <a:cxn ang="0">
                    <a:pos x="T4" y="T5"/>
                  </a:cxn>
                  <a:cxn ang="0">
                    <a:pos x="T6" y="T7"/>
                  </a:cxn>
                  <a:cxn ang="0">
                    <a:pos x="T8" y="T9"/>
                  </a:cxn>
                  <a:cxn ang="0">
                    <a:pos x="T10" y="T11"/>
                  </a:cxn>
                  <a:cxn ang="0">
                    <a:pos x="T12" y="T13"/>
                  </a:cxn>
                </a:cxnLst>
                <a:rect l="0" t="0" r="r" b="b"/>
                <a:pathLst>
                  <a:path w="137" h="437">
                    <a:moveTo>
                      <a:pt x="137" y="40"/>
                    </a:moveTo>
                    <a:cubicBezTo>
                      <a:pt x="137" y="17"/>
                      <a:pt x="119" y="0"/>
                      <a:pt x="95" y="0"/>
                    </a:cubicBezTo>
                    <a:cubicBezTo>
                      <a:pt x="42" y="0"/>
                      <a:pt x="42" y="0"/>
                      <a:pt x="42" y="0"/>
                    </a:cubicBezTo>
                    <a:cubicBezTo>
                      <a:pt x="24" y="0"/>
                      <a:pt x="0" y="17"/>
                      <a:pt x="0" y="40"/>
                    </a:cubicBezTo>
                    <a:cubicBezTo>
                      <a:pt x="0" y="40"/>
                      <a:pt x="0" y="244"/>
                      <a:pt x="0" y="312"/>
                    </a:cubicBezTo>
                    <a:cubicBezTo>
                      <a:pt x="0" y="346"/>
                      <a:pt x="137" y="437"/>
                      <a:pt x="137" y="397"/>
                    </a:cubicBezTo>
                    <a:cubicBezTo>
                      <a:pt x="137" y="301"/>
                      <a:pt x="137" y="40"/>
                      <a:pt x="13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63" name="Oval 13"/>
              <p:cNvSpPr>
                <a:spLocks noChangeArrowheads="1"/>
              </p:cNvSpPr>
              <p:nvPr/>
            </p:nvSpPr>
            <p:spPr bwMode="auto">
              <a:xfrm>
                <a:off x="4610" y="1492"/>
                <a:ext cx="516" cy="6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64" name="Oval 14"/>
              <p:cNvSpPr>
                <a:spLocks noChangeArrowheads="1"/>
              </p:cNvSpPr>
              <p:nvPr/>
            </p:nvSpPr>
            <p:spPr bwMode="auto">
              <a:xfrm>
                <a:off x="5360" y="1341"/>
                <a:ext cx="395" cy="4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65" name="Oval 15"/>
              <p:cNvSpPr>
                <a:spLocks noChangeArrowheads="1"/>
              </p:cNvSpPr>
              <p:nvPr/>
            </p:nvSpPr>
            <p:spPr bwMode="auto">
              <a:xfrm>
                <a:off x="5956" y="1189"/>
                <a:ext cx="305" cy="35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66" name="Freeform 16"/>
              <p:cNvSpPr>
                <a:spLocks/>
              </p:cNvSpPr>
              <p:nvPr/>
            </p:nvSpPr>
            <p:spPr bwMode="auto">
              <a:xfrm>
                <a:off x="4570" y="2270"/>
                <a:ext cx="608" cy="1287"/>
              </a:xfrm>
              <a:custGeom>
                <a:avLst/>
                <a:gdLst>
                  <a:gd name="T0" fmla="*/ 0 w 257"/>
                  <a:gd name="T1" fmla="*/ 74 h 544"/>
                  <a:gd name="T2" fmla="*/ 80 w 257"/>
                  <a:gd name="T3" fmla="*/ 0 h 544"/>
                  <a:gd name="T4" fmla="*/ 177 w 257"/>
                  <a:gd name="T5" fmla="*/ 0 h 544"/>
                  <a:gd name="T6" fmla="*/ 257 w 257"/>
                  <a:gd name="T7" fmla="*/ 74 h 544"/>
                  <a:gd name="T8" fmla="*/ 257 w 257"/>
                  <a:gd name="T9" fmla="*/ 363 h 544"/>
                  <a:gd name="T10" fmla="*/ 0 w 257"/>
                  <a:gd name="T11" fmla="*/ 470 h 544"/>
                  <a:gd name="T12" fmla="*/ 0 w 257"/>
                  <a:gd name="T13" fmla="*/ 74 h 544"/>
                </a:gdLst>
                <a:ahLst/>
                <a:cxnLst>
                  <a:cxn ang="0">
                    <a:pos x="T0" y="T1"/>
                  </a:cxn>
                  <a:cxn ang="0">
                    <a:pos x="T2" y="T3"/>
                  </a:cxn>
                  <a:cxn ang="0">
                    <a:pos x="T4" y="T5"/>
                  </a:cxn>
                  <a:cxn ang="0">
                    <a:pos x="T6" y="T7"/>
                  </a:cxn>
                  <a:cxn ang="0">
                    <a:pos x="T8" y="T9"/>
                  </a:cxn>
                  <a:cxn ang="0">
                    <a:pos x="T10" y="T11"/>
                  </a:cxn>
                  <a:cxn ang="0">
                    <a:pos x="T12" y="T13"/>
                  </a:cxn>
                </a:cxnLst>
                <a:rect l="0" t="0" r="r" b="b"/>
                <a:pathLst>
                  <a:path w="257" h="544">
                    <a:moveTo>
                      <a:pt x="0" y="74"/>
                    </a:moveTo>
                    <a:cubicBezTo>
                      <a:pt x="0" y="34"/>
                      <a:pt x="34" y="0"/>
                      <a:pt x="80" y="0"/>
                    </a:cubicBezTo>
                    <a:cubicBezTo>
                      <a:pt x="177" y="0"/>
                      <a:pt x="177" y="0"/>
                      <a:pt x="177" y="0"/>
                    </a:cubicBezTo>
                    <a:cubicBezTo>
                      <a:pt x="223" y="0"/>
                      <a:pt x="257" y="34"/>
                      <a:pt x="257" y="74"/>
                    </a:cubicBezTo>
                    <a:cubicBezTo>
                      <a:pt x="257" y="74"/>
                      <a:pt x="257" y="295"/>
                      <a:pt x="257" y="363"/>
                    </a:cubicBezTo>
                    <a:cubicBezTo>
                      <a:pt x="257" y="447"/>
                      <a:pt x="0" y="544"/>
                      <a:pt x="0" y="470"/>
                    </a:cubicBezTo>
                    <a:cubicBezTo>
                      <a:pt x="0" y="351"/>
                      <a:pt x="0" y="74"/>
                      <a:pt x="0"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67" name="Freeform 17"/>
              <p:cNvSpPr>
                <a:spLocks/>
              </p:cNvSpPr>
              <p:nvPr/>
            </p:nvSpPr>
            <p:spPr bwMode="auto">
              <a:xfrm>
                <a:off x="5329" y="1927"/>
                <a:ext cx="445" cy="1235"/>
              </a:xfrm>
              <a:custGeom>
                <a:avLst/>
                <a:gdLst>
                  <a:gd name="T0" fmla="*/ 0 w 188"/>
                  <a:gd name="T1" fmla="*/ 57 h 522"/>
                  <a:gd name="T2" fmla="*/ 57 w 188"/>
                  <a:gd name="T3" fmla="*/ 0 h 522"/>
                  <a:gd name="T4" fmla="*/ 131 w 188"/>
                  <a:gd name="T5" fmla="*/ 0 h 522"/>
                  <a:gd name="T6" fmla="*/ 188 w 188"/>
                  <a:gd name="T7" fmla="*/ 57 h 522"/>
                  <a:gd name="T8" fmla="*/ 188 w 188"/>
                  <a:gd name="T9" fmla="*/ 340 h 522"/>
                  <a:gd name="T10" fmla="*/ 0 w 188"/>
                  <a:gd name="T11" fmla="*/ 465 h 522"/>
                  <a:gd name="T12" fmla="*/ 0 w 188"/>
                  <a:gd name="T13" fmla="*/ 57 h 522"/>
                </a:gdLst>
                <a:ahLst/>
                <a:cxnLst>
                  <a:cxn ang="0">
                    <a:pos x="T0" y="T1"/>
                  </a:cxn>
                  <a:cxn ang="0">
                    <a:pos x="T2" y="T3"/>
                  </a:cxn>
                  <a:cxn ang="0">
                    <a:pos x="T4" y="T5"/>
                  </a:cxn>
                  <a:cxn ang="0">
                    <a:pos x="T6" y="T7"/>
                  </a:cxn>
                  <a:cxn ang="0">
                    <a:pos x="T8" y="T9"/>
                  </a:cxn>
                  <a:cxn ang="0">
                    <a:pos x="T10" y="T11"/>
                  </a:cxn>
                  <a:cxn ang="0">
                    <a:pos x="T12" y="T13"/>
                  </a:cxn>
                </a:cxnLst>
                <a:rect l="0" t="0" r="r" b="b"/>
                <a:pathLst>
                  <a:path w="188" h="522">
                    <a:moveTo>
                      <a:pt x="0" y="57"/>
                    </a:moveTo>
                    <a:cubicBezTo>
                      <a:pt x="0" y="28"/>
                      <a:pt x="29" y="0"/>
                      <a:pt x="57" y="0"/>
                    </a:cubicBezTo>
                    <a:cubicBezTo>
                      <a:pt x="131" y="0"/>
                      <a:pt x="131" y="0"/>
                      <a:pt x="131" y="0"/>
                    </a:cubicBezTo>
                    <a:cubicBezTo>
                      <a:pt x="165" y="0"/>
                      <a:pt x="188" y="28"/>
                      <a:pt x="188" y="57"/>
                    </a:cubicBezTo>
                    <a:cubicBezTo>
                      <a:pt x="188" y="57"/>
                      <a:pt x="188" y="272"/>
                      <a:pt x="188" y="340"/>
                    </a:cubicBezTo>
                    <a:cubicBezTo>
                      <a:pt x="188" y="397"/>
                      <a:pt x="0" y="522"/>
                      <a:pt x="0" y="465"/>
                    </a:cubicBezTo>
                    <a:cubicBezTo>
                      <a:pt x="0" y="346"/>
                      <a:pt x="0" y="57"/>
                      <a:pt x="0"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68" name="Freeform 18"/>
              <p:cNvSpPr>
                <a:spLocks/>
              </p:cNvSpPr>
              <p:nvPr/>
            </p:nvSpPr>
            <p:spPr bwMode="auto">
              <a:xfrm>
                <a:off x="5956" y="1684"/>
                <a:ext cx="305" cy="1033"/>
              </a:xfrm>
              <a:custGeom>
                <a:avLst/>
                <a:gdLst>
                  <a:gd name="T0" fmla="*/ 0 w 129"/>
                  <a:gd name="T1" fmla="*/ 40 h 437"/>
                  <a:gd name="T2" fmla="*/ 39 w 129"/>
                  <a:gd name="T3" fmla="*/ 0 h 437"/>
                  <a:gd name="T4" fmla="*/ 90 w 129"/>
                  <a:gd name="T5" fmla="*/ 0 h 437"/>
                  <a:gd name="T6" fmla="*/ 129 w 129"/>
                  <a:gd name="T7" fmla="*/ 40 h 437"/>
                  <a:gd name="T8" fmla="*/ 129 w 129"/>
                  <a:gd name="T9" fmla="*/ 312 h 437"/>
                  <a:gd name="T10" fmla="*/ 0 w 129"/>
                  <a:gd name="T11" fmla="*/ 397 h 437"/>
                  <a:gd name="T12" fmla="*/ 0 w 129"/>
                  <a:gd name="T13" fmla="*/ 40 h 437"/>
                </a:gdLst>
                <a:ahLst/>
                <a:cxnLst>
                  <a:cxn ang="0">
                    <a:pos x="T0" y="T1"/>
                  </a:cxn>
                  <a:cxn ang="0">
                    <a:pos x="T2" y="T3"/>
                  </a:cxn>
                  <a:cxn ang="0">
                    <a:pos x="T4" y="T5"/>
                  </a:cxn>
                  <a:cxn ang="0">
                    <a:pos x="T6" y="T7"/>
                  </a:cxn>
                  <a:cxn ang="0">
                    <a:pos x="T8" y="T9"/>
                  </a:cxn>
                  <a:cxn ang="0">
                    <a:pos x="T10" y="T11"/>
                  </a:cxn>
                  <a:cxn ang="0">
                    <a:pos x="T12" y="T13"/>
                  </a:cxn>
                </a:cxnLst>
                <a:rect l="0" t="0" r="r" b="b"/>
                <a:pathLst>
                  <a:path w="129" h="437">
                    <a:moveTo>
                      <a:pt x="0" y="40"/>
                    </a:moveTo>
                    <a:cubicBezTo>
                      <a:pt x="0" y="17"/>
                      <a:pt x="17" y="0"/>
                      <a:pt x="39" y="0"/>
                    </a:cubicBezTo>
                    <a:cubicBezTo>
                      <a:pt x="90" y="0"/>
                      <a:pt x="90" y="0"/>
                      <a:pt x="90" y="0"/>
                    </a:cubicBezTo>
                    <a:cubicBezTo>
                      <a:pt x="112" y="0"/>
                      <a:pt x="129" y="17"/>
                      <a:pt x="129" y="40"/>
                    </a:cubicBezTo>
                    <a:cubicBezTo>
                      <a:pt x="129" y="40"/>
                      <a:pt x="129" y="244"/>
                      <a:pt x="129" y="312"/>
                    </a:cubicBezTo>
                    <a:cubicBezTo>
                      <a:pt x="129" y="346"/>
                      <a:pt x="0" y="437"/>
                      <a:pt x="0" y="397"/>
                    </a:cubicBezTo>
                    <a:cubicBezTo>
                      <a:pt x="0" y="301"/>
                      <a:pt x="0" y="40"/>
                      <a:pt x="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grpSp>
      </p:grpSp>
      <p:grpSp>
        <p:nvGrpSpPr>
          <p:cNvPr id="69" name="Group 68"/>
          <p:cNvGrpSpPr/>
          <p:nvPr/>
        </p:nvGrpSpPr>
        <p:grpSpPr>
          <a:xfrm>
            <a:off x="569541" y="1821144"/>
            <a:ext cx="746719" cy="746720"/>
            <a:chOff x="7912547" y="2732953"/>
            <a:chExt cx="761891" cy="761892"/>
          </a:xfrm>
        </p:grpSpPr>
        <p:sp>
          <p:nvSpPr>
            <p:cNvPr id="70" name="Oval 69"/>
            <p:cNvSpPr/>
            <p:nvPr/>
          </p:nvSpPr>
          <p:spPr bwMode="auto">
            <a:xfrm>
              <a:off x="7912547" y="2732953"/>
              <a:ext cx="761891" cy="76189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23" fontAlgn="base">
                <a:lnSpc>
                  <a:spcPct val="90000"/>
                </a:lnSpc>
                <a:spcBef>
                  <a:spcPct val="0"/>
                </a:spcBef>
                <a:spcAft>
                  <a:spcPct val="0"/>
                </a:spcAft>
                <a:defRPr/>
              </a:pPr>
              <a:endParaRPr lang="en-US" sz="2352" kern="0" dirty="0">
                <a:gradFill>
                  <a:gsLst>
                    <a:gs pos="86982">
                      <a:srgbClr val="505050"/>
                    </a:gs>
                    <a:gs pos="69822">
                      <a:srgbClr val="505050"/>
                    </a:gs>
                  </a:gsLst>
                  <a:lin ang="5400000" scaled="0"/>
                </a:gradFill>
                <a:latin typeface="Segoe UI"/>
                <a:ea typeface="Segoe UI" pitchFamily="34" charset="0"/>
                <a:cs typeface="Segoe UI" pitchFamily="34" charset="0"/>
              </a:endParaRPr>
            </a:p>
          </p:txBody>
        </p:sp>
        <p:grpSp>
          <p:nvGrpSpPr>
            <p:cNvPr id="71" name="Group 25"/>
            <p:cNvGrpSpPr>
              <a:grpSpLocks noChangeAspect="1"/>
            </p:cNvGrpSpPr>
            <p:nvPr/>
          </p:nvGrpSpPr>
          <p:grpSpPr bwMode="auto">
            <a:xfrm>
              <a:off x="8180765" y="2935993"/>
              <a:ext cx="234574" cy="355812"/>
              <a:chOff x="3828" y="2068"/>
              <a:chExt cx="178" cy="270"/>
            </a:xfrm>
          </p:grpSpPr>
          <p:sp>
            <p:nvSpPr>
              <p:cNvPr id="72" name="Rectangle 26"/>
              <p:cNvSpPr>
                <a:spLocks noChangeArrowheads="1"/>
              </p:cNvSpPr>
              <p:nvPr/>
            </p:nvSpPr>
            <p:spPr bwMode="auto">
              <a:xfrm>
                <a:off x="3828" y="2280"/>
                <a:ext cx="69" cy="58"/>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73" name="Rectangle 27"/>
              <p:cNvSpPr>
                <a:spLocks noChangeArrowheads="1"/>
              </p:cNvSpPr>
              <p:nvPr/>
            </p:nvSpPr>
            <p:spPr bwMode="auto">
              <a:xfrm>
                <a:off x="3828" y="2174"/>
                <a:ext cx="178" cy="68"/>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74" name="Rectangle 28"/>
              <p:cNvSpPr>
                <a:spLocks noChangeArrowheads="1"/>
              </p:cNvSpPr>
              <p:nvPr/>
            </p:nvSpPr>
            <p:spPr bwMode="auto">
              <a:xfrm>
                <a:off x="3828" y="2068"/>
                <a:ext cx="69" cy="67"/>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75" name="Rectangle 29"/>
              <p:cNvSpPr>
                <a:spLocks noChangeArrowheads="1"/>
              </p:cNvSpPr>
              <p:nvPr/>
            </p:nvSpPr>
            <p:spPr bwMode="auto">
              <a:xfrm>
                <a:off x="3937" y="2068"/>
                <a:ext cx="69" cy="67"/>
              </a:xfrm>
              <a:prstGeom prst="rect">
                <a:avLst/>
              </a:prstGeom>
              <a:solidFill>
                <a:schemeClr val="bg1"/>
              </a:solidFill>
              <a:ln w="19050" cap="flat">
                <a:solidFill>
                  <a:schemeClr val="bg1"/>
                </a:solidFill>
                <a:prstDash val="solid"/>
                <a:miter lim="800000"/>
                <a:headEnd/>
                <a:tailEnd/>
              </a:ln>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grpSp>
      </p:grpSp>
      <p:grpSp>
        <p:nvGrpSpPr>
          <p:cNvPr id="76" name="Group 75"/>
          <p:cNvGrpSpPr/>
          <p:nvPr/>
        </p:nvGrpSpPr>
        <p:grpSpPr>
          <a:xfrm>
            <a:off x="4199036" y="1821144"/>
            <a:ext cx="746719" cy="746720"/>
            <a:chOff x="4138164" y="2732953"/>
            <a:chExt cx="761891" cy="761892"/>
          </a:xfrm>
        </p:grpSpPr>
        <p:sp>
          <p:nvSpPr>
            <p:cNvPr id="77" name="Oval 76"/>
            <p:cNvSpPr/>
            <p:nvPr/>
          </p:nvSpPr>
          <p:spPr bwMode="auto">
            <a:xfrm>
              <a:off x="4138164" y="2732953"/>
              <a:ext cx="761891" cy="76189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23" fontAlgn="base">
                <a:lnSpc>
                  <a:spcPct val="90000"/>
                </a:lnSpc>
                <a:spcBef>
                  <a:spcPct val="0"/>
                </a:spcBef>
                <a:spcAft>
                  <a:spcPct val="0"/>
                </a:spcAft>
                <a:defRPr/>
              </a:pPr>
              <a:endParaRPr lang="en-US" sz="2352" kern="0" dirty="0">
                <a:gradFill>
                  <a:gsLst>
                    <a:gs pos="86982">
                      <a:srgbClr val="505050"/>
                    </a:gs>
                    <a:gs pos="69822">
                      <a:srgbClr val="505050"/>
                    </a:gs>
                  </a:gsLst>
                  <a:lin ang="5400000" scaled="0"/>
                </a:gradFill>
                <a:latin typeface="Segoe UI"/>
                <a:ea typeface="Segoe UI" pitchFamily="34" charset="0"/>
                <a:cs typeface="Segoe UI" pitchFamily="34" charset="0"/>
              </a:endParaRPr>
            </a:p>
          </p:txBody>
        </p:sp>
        <p:sp>
          <p:nvSpPr>
            <p:cNvPr id="78" name="Freeform 22"/>
            <p:cNvSpPr>
              <a:spLocks noEditPoints="1"/>
            </p:cNvSpPr>
            <p:nvPr/>
          </p:nvSpPr>
          <p:spPr bwMode="auto">
            <a:xfrm rot="9900000" flipH="1" flipV="1">
              <a:off x="4312920" y="2916067"/>
              <a:ext cx="407770" cy="407770"/>
            </a:xfrm>
            <a:custGeom>
              <a:avLst/>
              <a:gdLst>
                <a:gd name="T0" fmla="*/ 1916 w 1916"/>
                <a:gd name="T1" fmla="*/ 963 h 1916"/>
                <a:gd name="T2" fmla="*/ 1629 w 1916"/>
                <a:gd name="T3" fmla="*/ 491 h 1916"/>
                <a:gd name="T4" fmla="*/ 1648 w 1916"/>
                <a:gd name="T5" fmla="*/ 759 h 1916"/>
                <a:gd name="T6" fmla="*/ 1509 w 1916"/>
                <a:gd name="T7" fmla="*/ 898 h 1916"/>
                <a:gd name="T8" fmla="*/ 1500 w 1916"/>
                <a:gd name="T9" fmla="*/ 1092 h 1916"/>
                <a:gd name="T10" fmla="*/ 1361 w 1916"/>
                <a:gd name="T11" fmla="*/ 1379 h 1916"/>
                <a:gd name="T12" fmla="*/ 1555 w 1916"/>
                <a:gd name="T13" fmla="*/ 1648 h 1916"/>
                <a:gd name="T14" fmla="*/ 1065 w 1916"/>
                <a:gd name="T15" fmla="*/ 1731 h 1916"/>
                <a:gd name="T16" fmla="*/ 833 w 1916"/>
                <a:gd name="T17" fmla="*/ 1416 h 1916"/>
                <a:gd name="T18" fmla="*/ 546 w 1916"/>
                <a:gd name="T19" fmla="*/ 1342 h 1916"/>
                <a:gd name="T20" fmla="*/ 463 w 1916"/>
                <a:gd name="T21" fmla="*/ 1305 h 1916"/>
                <a:gd name="T22" fmla="*/ 602 w 1916"/>
                <a:gd name="T23" fmla="*/ 1166 h 1916"/>
                <a:gd name="T24" fmla="*/ 731 w 1916"/>
                <a:gd name="T25" fmla="*/ 981 h 1916"/>
                <a:gd name="T26" fmla="*/ 889 w 1916"/>
                <a:gd name="T27" fmla="*/ 926 h 1916"/>
                <a:gd name="T28" fmla="*/ 917 w 1916"/>
                <a:gd name="T29" fmla="*/ 1018 h 1916"/>
                <a:gd name="T30" fmla="*/ 917 w 1916"/>
                <a:gd name="T31" fmla="*/ 1065 h 1916"/>
                <a:gd name="T32" fmla="*/ 1074 w 1916"/>
                <a:gd name="T33" fmla="*/ 1092 h 1916"/>
                <a:gd name="T34" fmla="*/ 1046 w 1916"/>
                <a:gd name="T35" fmla="*/ 944 h 1916"/>
                <a:gd name="T36" fmla="*/ 889 w 1916"/>
                <a:gd name="T37" fmla="*/ 750 h 1916"/>
                <a:gd name="T38" fmla="*/ 648 w 1916"/>
                <a:gd name="T39" fmla="*/ 583 h 1916"/>
                <a:gd name="T40" fmla="*/ 593 w 1916"/>
                <a:gd name="T41" fmla="*/ 759 h 1916"/>
                <a:gd name="T42" fmla="*/ 620 w 1916"/>
                <a:gd name="T43" fmla="*/ 565 h 1916"/>
                <a:gd name="T44" fmla="*/ 556 w 1916"/>
                <a:gd name="T45" fmla="*/ 463 h 1916"/>
                <a:gd name="T46" fmla="*/ 509 w 1916"/>
                <a:gd name="T47" fmla="*/ 361 h 1916"/>
                <a:gd name="T48" fmla="*/ 426 w 1916"/>
                <a:gd name="T49" fmla="*/ 482 h 1916"/>
                <a:gd name="T50" fmla="*/ 426 w 1916"/>
                <a:gd name="T51" fmla="*/ 333 h 1916"/>
                <a:gd name="T52" fmla="*/ 287 w 1916"/>
                <a:gd name="T53" fmla="*/ 417 h 1916"/>
                <a:gd name="T54" fmla="*/ 361 w 1916"/>
                <a:gd name="T55" fmla="*/ 500 h 1916"/>
                <a:gd name="T56" fmla="*/ 158 w 1916"/>
                <a:gd name="T57" fmla="*/ 519 h 1916"/>
                <a:gd name="T58" fmla="*/ 685 w 1916"/>
                <a:gd name="T59" fmla="*/ 213 h 1916"/>
                <a:gd name="T60" fmla="*/ 861 w 1916"/>
                <a:gd name="T61" fmla="*/ 65 h 1916"/>
                <a:gd name="T62" fmla="*/ 750 w 1916"/>
                <a:gd name="T63" fmla="*/ 158 h 1916"/>
                <a:gd name="T64" fmla="*/ 907 w 1916"/>
                <a:gd name="T65" fmla="*/ 333 h 1916"/>
                <a:gd name="T66" fmla="*/ 935 w 1916"/>
                <a:gd name="T67" fmla="*/ 398 h 1916"/>
                <a:gd name="T68" fmla="*/ 972 w 1916"/>
                <a:gd name="T69" fmla="*/ 528 h 1916"/>
                <a:gd name="T70" fmla="*/ 1185 w 1916"/>
                <a:gd name="T71" fmla="*/ 445 h 1916"/>
                <a:gd name="T72" fmla="*/ 1296 w 1916"/>
                <a:gd name="T73" fmla="*/ 259 h 1916"/>
                <a:gd name="T74" fmla="*/ 1305 w 1916"/>
                <a:gd name="T75" fmla="*/ 204 h 1916"/>
                <a:gd name="T76" fmla="*/ 1574 w 1916"/>
                <a:gd name="T77" fmla="*/ 296 h 1916"/>
                <a:gd name="T78" fmla="*/ 65 w 1916"/>
                <a:gd name="T79" fmla="*/ 787 h 1916"/>
                <a:gd name="T80" fmla="*/ 167 w 1916"/>
                <a:gd name="T81" fmla="*/ 870 h 1916"/>
                <a:gd name="T82" fmla="*/ 278 w 1916"/>
                <a:gd name="T83" fmla="*/ 1157 h 1916"/>
                <a:gd name="T84" fmla="*/ 630 w 1916"/>
                <a:gd name="T85" fmla="*/ 1564 h 1916"/>
                <a:gd name="T86" fmla="*/ 65 w 1916"/>
                <a:gd name="T87" fmla="*/ 787 h 1916"/>
                <a:gd name="T88" fmla="*/ 926 w 1916"/>
                <a:gd name="T89" fmla="*/ 917 h 1916"/>
                <a:gd name="T90" fmla="*/ 926 w 1916"/>
                <a:gd name="T91" fmla="*/ 917 h 1916"/>
                <a:gd name="T92" fmla="*/ 796 w 1916"/>
                <a:gd name="T93" fmla="*/ 861 h 1916"/>
                <a:gd name="T94" fmla="*/ 806 w 1916"/>
                <a:gd name="T95" fmla="*/ 880 h 1916"/>
                <a:gd name="T96" fmla="*/ 1222 w 1916"/>
                <a:gd name="T97" fmla="*/ 93 h 1916"/>
                <a:gd name="T98" fmla="*/ 1176 w 1916"/>
                <a:gd name="T99" fmla="*/ 74 h 1916"/>
                <a:gd name="T100" fmla="*/ 620 w 1916"/>
                <a:gd name="T101" fmla="*/ 111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16" h="1916">
                  <a:moveTo>
                    <a:pt x="954" y="0"/>
                  </a:moveTo>
                  <a:cubicBezTo>
                    <a:pt x="426" y="0"/>
                    <a:pt x="0" y="435"/>
                    <a:pt x="0" y="963"/>
                  </a:cubicBezTo>
                  <a:cubicBezTo>
                    <a:pt x="0" y="1490"/>
                    <a:pt x="426" y="1916"/>
                    <a:pt x="954" y="1916"/>
                  </a:cubicBezTo>
                  <a:cubicBezTo>
                    <a:pt x="1490" y="1916"/>
                    <a:pt x="1916" y="1490"/>
                    <a:pt x="1916" y="963"/>
                  </a:cubicBezTo>
                  <a:cubicBezTo>
                    <a:pt x="1916" y="435"/>
                    <a:pt x="1490" y="0"/>
                    <a:pt x="954" y="0"/>
                  </a:cubicBezTo>
                  <a:close/>
                  <a:moveTo>
                    <a:pt x="1685" y="463"/>
                  </a:moveTo>
                  <a:cubicBezTo>
                    <a:pt x="1676" y="463"/>
                    <a:pt x="1676" y="472"/>
                    <a:pt x="1666" y="482"/>
                  </a:cubicBezTo>
                  <a:cubicBezTo>
                    <a:pt x="1657" y="454"/>
                    <a:pt x="1639" y="472"/>
                    <a:pt x="1629" y="491"/>
                  </a:cubicBezTo>
                  <a:cubicBezTo>
                    <a:pt x="1648" y="546"/>
                    <a:pt x="1620" y="602"/>
                    <a:pt x="1583" y="630"/>
                  </a:cubicBezTo>
                  <a:cubicBezTo>
                    <a:pt x="1583" y="667"/>
                    <a:pt x="1592" y="685"/>
                    <a:pt x="1601" y="713"/>
                  </a:cubicBezTo>
                  <a:cubicBezTo>
                    <a:pt x="1620" y="713"/>
                    <a:pt x="1629" y="704"/>
                    <a:pt x="1639" y="713"/>
                  </a:cubicBezTo>
                  <a:cubicBezTo>
                    <a:pt x="1648" y="722"/>
                    <a:pt x="1666" y="741"/>
                    <a:pt x="1648" y="759"/>
                  </a:cubicBezTo>
                  <a:cubicBezTo>
                    <a:pt x="1648" y="750"/>
                    <a:pt x="1648" y="731"/>
                    <a:pt x="1639" y="722"/>
                  </a:cubicBezTo>
                  <a:cubicBezTo>
                    <a:pt x="1611" y="731"/>
                    <a:pt x="1620" y="778"/>
                    <a:pt x="1629" y="796"/>
                  </a:cubicBezTo>
                  <a:cubicBezTo>
                    <a:pt x="1592" y="806"/>
                    <a:pt x="1583" y="843"/>
                    <a:pt x="1564" y="861"/>
                  </a:cubicBezTo>
                  <a:cubicBezTo>
                    <a:pt x="1546" y="870"/>
                    <a:pt x="1518" y="870"/>
                    <a:pt x="1509" y="898"/>
                  </a:cubicBezTo>
                  <a:cubicBezTo>
                    <a:pt x="1527" y="907"/>
                    <a:pt x="1546" y="926"/>
                    <a:pt x="1546" y="963"/>
                  </a:cubicBezTo>
                  <a:cubicBezTo>
                    <a:pt x="1537" y="981"/>
                    <a:pt x="1500" y="963"/>
                    <a:pt x="1481" y="963"/>
                  </a:cubicBezTo>
                  <a:cubicBezTo>
                    <a:pt x="1453" y="972"/>
                    <a:pt x="1472" y="1046"/>
                    <a:pt x="1463" y="1065"/>
                  </a:cubicBezTo>
                  <a:cubicBezTo>
                    <a:pt x="1472" y="1074"/>
                    <a:pt x="1490" y="1074"/>
                    <a:pt x="1500" y="1092"/>
                  </a:cubicBezTo>
                  <a:cubicBezTo>
                    <a:pt x="1481" y="1120"/>
                    <a:pt x="1444" y="1129"/>
                    <a:pt x="1453" y="1176"/>
                  </a:cubicBezTo>
                  <a:cubicBezTo>
                    <a:pt x="1426" y="1194"/>
                    <a:pt x="1379" y="1222"/>
                    <a:pt x="1370" y="1268"/>
                  </a:cubicBezTo>
                  <a:cubicBezTo>
                    <a:pt x="1370" y="1287"/>
                    <a:pt x="1379" y="1305"/>
                    <a:pt x="1379" y="1324"/>
                  </a:cubicBezTo>
                  <a:cubicBezTo>
                    <a:pt x="1379" y="1352"/>
                    <a:pt x="1361" y="1361"/>
                    <a:pt x="1361" y="1379"/>
                  </a:cubicBezTo>
                  <a:cubicBezTo>
                    <a:pt x="1370" y="1407"/>
                    <a:pt x="1426" y="1453"/>
                    <a:pt x="1453" y="1463"/>
                  </a:cubicBezTo>
                  <a:cubicBezTo>
                    <a:pt x="1500" y="1444"/>
                    <a:pt x="1546" y="1416"/>
                    <a:pt x="1592" y="1435"/>
                  </a:cubicBezTo>
                  <a:cubicBezTo>
                    <a:pt x="1601" y="1453"/>
                    <a:pt x="1583" y="1453"/>
                    <a:pt x="1583" y="1472"/>
                  </a:cubicBezTo>
                  <a:cubicBezTo>
                    <a:pt x="1620" y="1546"/>
                    <a:pt x="1546" y="1574"/>
                    <a:pt x="1555" y="1648"/>
                  </a:cubicBezTo>
                  <a:cubicBezTo>
                    <a:pt x="1398" y="1787"/>
                    <a:pt x="1185" y="1870"/>
                    <a:pt x="954" y="1870"/>
                  </a:cubicBezTo>
                  <a:cubicBezTo>
                    <a:pt x="917" y="1870"/>
                    <a:pt x="870" y="1870"/>
                    <a:pt x="833" y="1861"/>
                  </a:cubicBezTo>
                  <a:cubicBezTo>
                    <a:pt x="889" y="1824"/>
                    <a:pt x="972" y="1824"/>
                    <a:pt x="1000" y="1750"/>
                  </a:cubicBezTo>
                  <a:cubicBezTo>
                    <a:pt x="1018" y="1750"/>
                    <a:pt x="1037" y="1731"/>
                    <a:pt x="1065" y="1731"/>
                  </a:cubicBezTo>
                  <a:cubicBezTo>
                    <a:pt x="1083" y="1722"/>
                    <a:pt x="1102" y="1694"/>
                    <a:pt x="1102" y="1657"/>
                  </a:cubicBezTo>
                  <a:cubicBezTo>
                    <a:pt x="1120" y="1629"/>
                    <a:pt x="1157" y="1629"/>
                    <a:pt x="1157" y="1583"/>
                  </a:cubicBezTo>
                  <a:cubicBezTo>
                    <a:pt x="1111" y="1555"/>
                    <a:pt x="1037" y="1546"/>
                    <a:pt x="981" y="1527"/>
                  </a:cubicBezTo>
                  <a:cubicBezTo>
                    <a:pt x="972" y="1444"/>
                    <a:pt x="861" y="1472"/>
                    <a:pt x="833" y="1416"/>
                  </a:cubicBezTo>
                  <a:cubicBezTo>
                    <a:pt x="787" y="1426"/>
                    <a:pt x="759" y="1398"/>
                    <a:pt x="722" y="1389"/>
                  </a:cubicBezTo>
                  <a:cubicBezTo>
                    <a:pt x="704" y="1398"/>
                    <a:pt x="685" y="1416"/>
                    <a:pt x="657" y="1426"/>
                  </a:cubicBezTo>
                  <a:cubicBezTo>
                    <a:pt x="648" y="1407"/>
                    <a:pt x="602" y="1426"/>
                    <a:pt x="593" y="1407"/>
                  </a:cubicBezTo>
                  <a:cubicBezTo>
                    <a:pt x="611" y="1352"/>
                    <a:pt x="583" y="1342"/>
                    <a:pt x="546" y="1342"/>
                  </a:cubicBezTo>
                  <a:cubicBezTo>
                    <a:pt x="537" y="1315"/>
                    <a:pt x="546" y="1305"/>
                    <a:pt x="546" y="1287"/>
                  </a:cubicBezTo>
                  <a:cubicBezTo>
                    <a:pt x="546" y="1278"/>
                    <a:pt x="528" y="1278"/>
                    <a:pt x="519" y="1278"/>
                  </a:cubicBezTo>
                  <a:cubicBezTo>
                    <a:pt x="500" y="1287"/>
                    <a:pt x="500" y="1305"/>
                    <a:pt x="491" y="1305"/>
                  </a:cubicBezTo>
                  <a:cubicBezTo>
                    <a:pt x="482" y="1305"/>
                    <a:pt x="472" y="1305"/>
                    <a:pt x="463" y="1305"/>
                  </a:cubicBezTo>
                  <a:cubicBezTo>
                    <a:pt x="435" y="1296"/>
                    <a:pt x="417" y="1194"/>
                    <a:pt x="463" y="1176"/>
                  </a:cubicBezTo>
                  <a:cubicBezTo>
                    <a:pt x="509" y="1194"/>
                    <a:pt x="519" y="1166"/>
                    <a:pt x="574" y="1176"/>
                  </a:cubicBezTo>
                  <a:cubicBezTo>
                    <a:pt x="593" y="1194"/>
                    <a:pt x="583" y="1241"/>
                    <a:pt x="620" y="1241"/>
                  </a:cubicBezTo>
                  <a:cubicBezTo>
                    <a:pt x="639" y="1213"/>
                    <a:pt x="602" y="1185"/>
                    <a:pt x="602" y="1166"/>
                  </a:cubicBezTo>
                  <a:cubicBezTo>
                    <a:pt x="611" y="1139"/>
                    <a:pt x="648" y="1139"/>
                    <a:pt x="657" y="1111"/>
                  </a:cubicBezTo>
                  <a:cubicBezTo>
                    <a:pt x="685" y="1083"/>
                    <a:pt x="676" y="1055"/>
                    <a:pt x="685" y="1028"/>
                  </a:cubicBezTo>
                  <a:cubicBezTo>
                    <a:pt x="704" y="1018"/>
                    <a:pt x="713" y="1009"/>
                    <a:pt x="731" y="1009"/>
                  </a:cubicBezTo>
                  <a:cubicBezTo>
                    <a:pt x="731" y="1000"/>
                    <a:pt x="731" y="991"/>
                    <a:pt x="731" y="981"/>
                  </a:cubicBezTo>
                  <a:cubicBezTo>
                    <a:pt x="741" y="963"/>
                    <a:pt x="768" y="954"/>
                    <a:pt x="778" y="944"/>
                  </a:cubicBezTo>
                  <a:cubicBezTo>
                    <a:pt x="806" y="954"/>
                    <a:pt x="768" y="963"/>
                    <a:pt x="778" y="972"/>
                  </a:cubicBezTo>
                  <a:cubicBezTo>
                    <a:pt x="815" y="963"/>
                    <a:pt x="852" y="954"/>
                    <a:pt x="861" y="926"/>
                  </a:cubicBezTo>
                  <a:cubicBezTo>
                    <a:pt x="870" y="926"/>
                    <a:pt x="880" y="926"/>
                    <a:pt x="889" y="926"/>
                  </a:cubicBezTo>
                  <a:cubicBezTo>
                    <a:pt x="898" y="935"/>
                    <a:pt x="898" y="935"/>
                    <a:pt x="898" y="944"/>
                  </a:cubicBezTo>
                  <a:cubicBezTo>
                    <a:pt x="898" y="944"/>
                    <a:pt x="898" y="944"/>
                    <a:pt x="898" y="944"/>
                  </a:cubicBezTo>
                  <a:cubicBezTo>
                    <a:pt x="889" y="944"/>
                    <a:pt x="880" y="944"/>
                    <a:pt x="889" y="954"/>
                  </a:cubicBezTo>
                  <a:cubicBezTo>
                    <a:pt x="898" y="972"/>
                    <a:pt x="907" y="1000"/>
                    <a:pt x="917" y="1018"/>
                  </a:cubicBezTo>
                  <a:cubicBezTo>
                    <a:pt x="926" y="1018"/>
                    <a:pt x="935" y="1009"/>
                    <a:pt x="935" y="1009"/>
                  </a:cubicBezTo>
                  <a:cubicBezTo>
                    <a:pt x="935" y="1018"/>
                    <a:pt x="935" y="1028"/>
                    <a:pt x="935" y="1037"/>
                  </a:cubicBezTo>
                  <a:cubicBezTo>
                    <a:pt x="926" y="1037"/>
                    <a:pt x="926" y="1037"/>
                    <a:pt x="917" y="1037"/>
                  </a:cubicBezTo>
                  <a:cubicBezTo>
                    <a:pt x="917" y="1046"/>
                    <a:pt x="917" y="1055"/>
                    <a:pt x="917" y="1065"/>
                  </a:cubicBezTo>
                  <a:cubicBezTo>
                    <a:pt x="935" y="1074"/>
                    <a:pt x="954" y="1065"/>
                    <a:pt x="963" y="1055"/>
                  </a:cubicBezTo>
                  <a:cubicBezTo>
                    <a:pt x="981" y="1083"/>
                    <a:pt x="1018" y="1120"/>
                    <a:pt x="1055" y="1120"/>
                  </a:cubicBezTo>
                  <a:cubicBezTo>
                    <a:pt x="1065" y="1102"/>
                    <a:pt x="1028" y="1092"/>
                    <a:pt x="1037" y="1083"/>
                  </a:cubicBezTo>
                  <a:cubicBezTo>
                    <a:pt x="1055" y="1083"/>
                    <a:pt x="1055" y="1092"/>
                    <a:pt x="1074" y="1092"/>
                  </a:cubicBezTo>
                  <a:cubicBezTo>
                    <a:pt x="1102" y="1046"/>
                    <a:pt x="1028" y="1046"/>
                    <a:pt x="1046" y="1009"/>
                  </a:cubicBezTo>
                  <a:cubicBezTo>
                    <a:pt x="1065" y="1009"/>
                    <a:pt x="1065" y="1046"/>
                    <a:pt x="1083" y="1037"/>
                  </a:cubicBezTo>
                  <a:cubicBezTo>
                    <a:pt x="1102" y="1028"/>
                    <a:pt x="1111" y="1009"/>
                    <a:pt x="1111" y="991"/>
                  </a:cubicBezTo>
                  <a:cubicBezTo>
                    <a:pt x="1083" y="981"/>
                    <a:pt x="1074" y="954"/>
                    <a:pt x="1046" y="944"/>
                  </a:cubicBezTo>
                  <a:cubicBezTo>
                    <a:pt x="1065" y="944"/>
                    <a:pt x="1055" y="926"/>
                    <a:pt x="1055" y="907"/>
                  </a:cubicBezTo>
                  <a:cubicBezTo>
                    <a:pt x="1028" y="870"/>
                    <a:pt x="963" y="870"/>
                    <a:pt x="954" y="806"/>
                  </a:cubicBezTo>
                  <a:cubicBezTo>
                    <a:pt x="944" y="806"/>
                    <a:pt x="926" y="806"/>
                    <a:pt x="917" y="806"/>
                  </a:cubicBezTo>
                  <a:cubicBezTo>
                    <a:pt x="907" y="787"/>
                    <a:pt x="898" y="769"/>
                    <a:pt x="889" y="750"/>
                  </a:cubicBezTo>
                  <a:cubicBezTo>
                    <a:pt x="815" y="750"/>
                    <a:pt x="852" y="657"/>
                    <a:pt x="796" y="630"/>
                  </a:cubicBezTo>
                  <a:cubicBezTo>
                    <a:pt x="787" y="648"/>
                    <a:pt x="787" y="667"/>
                    <a:pt x="778" y="676"/>
                  </a:cubicBezTo>
                  <a:cubicBezTo>
                    <a:pt x="759" y="676"/>
                    <a:pt x="759" y="667"/>
                    <a:pt x="741" y="667"/>
                  </a:cubicBezTo>
                  <a:cubicBezTo>
                    <a:pt x="768" y="620"/>
                    <a:pt x="713" y="574"/>
                    <a:pt x="648" y="583"/>
                  </a:cubicBezTo>
                  <a:cubicBezTo>
                    <a:pt x="648" y="620"/>
                    <a:pt x="657" y="657"/>
                    <a:pt x="639" y="667"/>
                  </a:cubicBezTo>
                  <a:cubicBezTo>
                    <a:pt x="657" y="704"/>
                    <a:pt x="657" y="750"/>
                    <a:pt x="620" y="769"/>
                  </a:cubicBezTo>
                  <a:cubicBezTo>
                    <a:pt x="620" y="787"/>
                    <a:pt x="639" y="806"/>
                    <a:pt x="630" y="824"/>
                  </a:cubicBezTo>
                  <a:cubicBezTo>
                    <a:pt x="602" y="833"/>
                    <a:pt x="593" y="796"/>
                    <a:pt x="593" y="759"/>
                  </a:cubicBezTo>
                  <a:cubicBezTo>
                    <a:pt x="556" y="741"/>
                    <a:pt x="491" y="722"/>
                    <a:pt x="463" y="676"/>
                  </a:cubicBezTo>
                  <a:cubicBezTo>
                    <a:pt x="463" y="602"/>
                    <a:pt x="528" y="583"/>
                    <a:pt x="556" y="537"/>
                  </a:cubicBezTo>
                  <a:cubicBezTo>
                    <a:pt x="565" y="528"/>
                    <a:pt x="556" y="556"/>
                    <a:pt x="546" y="565"/>
                  </a:cubicBezTo>
                  <a:cubicBezTo>
                    <a:pt x="565" y="593"/>
                    <a:pt x="602" y="556"/>
                    <a:pt x="620" y="565"/>
                  </a:cubicBezTo>
                  <a:cubicBezTo>
                    <a:pt x="602" y="528"/>
                    <a:pt x="583" y="491"/>
                    <a:pt x="630" y="472"/>
                  </a:cubicBezTo>
                  <a:cubicBezTo>
                    <a:pt x="620" y="463"/>
                    <a:pt x="620" y="426"/>
                    <a:pt x="630" y="417"/>
                  </a:cubicBezTo>
                  <a:cubicBezTo>
                    <a:pt x="620" y="408"/>
                    <a:pt x="602" y="408"/>
                    <a:pt x="593" y="408"/>
                  </a:cubicBezTo>
                  <a:cubicBezTo>
                    <a:pt x="574" y="426"/>
                    <a:pt x="574" y="454"/>
                    <a:pt x="556" y="463"/>
                  </a:cubicBezTo>
                  <a:cubicBezTo>
                    <a:pt x="556" y="445"/>
                    <a:pt x="565" y="435"/>
                    <a:pt x="556" y="426"/>
                  </a:cubicBezTo>
                  <a:cubicBezTo>
                    <a:pt x="546" y="435"/>
                    <a:pt x="546" y="435"/>
                    <a:pt x="546" y="426"/>
                  </a:cubicBezTo>
                  <a:cubicBezTo>
                    <a:pt x="537" y="426"/>
                    <a:pt x="537" y="435"/>
                    <a:pt x="537" y="445"/>
                  </a:cubicBezTo>
                  <a:cubicBezTo>
                    <a:pt x="509" y="417"/>
                    <a:pt x="528" y="389"/>
                    <a:pt x="509" y="361"/>
                  </a:cubicBezTo>
                  <a:cubicBezTo>
                    <a:pt x="509" y="371"/>
                    <a:pt x="500" y="371"/>
                    <a:pt x="500" y="361"/>
                  </a:cubicBezTo>
                  <a:cubicBezTo>
                    <a:pt x="482" y="361"/>
                    <a:pt x="463" y="417"/>
                    <a:pt x="491" y="426"/>
                  </a:cubicBezTo>
                  <a:cubicBezTo>
                    <a:pt x="482" y="435"/>
                    <a:pt x="463" y="426"/>
                    <a:pt x="463" y="426"/>
                  </a:cubicBezTo>
                  <a:cubicBezTo>
                    <a:pt x="445" y="435"/>
                    <a:pt x="445" y="463"/>
                    <a:pt x="426" y="482"/>
                  </a:cubicBezTo>
                  <a:cubicBezTo>
                    <a:pt x="417" y="482"/>
                    <a:pt x="398" y="472"/>
                    <a:pt x="398" y="472"/>
                  </a:cubicBezTo>
                  <a:cubicBezTo>
                    <a:pt x="417" y="463"/>
                    <a:pt x="426" y="445"/>
                    <a:pt x="435" y="417"/>
                  </a:cubicBezTo>
                  <a:cubicBezTo>
                    <a:pt x="435" y="408"/>
                    <a:pt x="417" y="408"/>
                    <a:pt x="408" y="398"/>
                  </a:cubicBezTo>
                  <a:cubicBezTo>
                    <a:pt x="408" y="361"/>
                    <a:pt x="426" y="361"/>
                    <a:pt x="426" y="333"/>
                  </a:cubicBezTo>
                  <a:cubicBezTo>
                    <a:pt x="398" y="324"/>
                    <a:pt x="389" y="352"/>
                    <a:pt x="389" y="380"/>
                  </a:cubicBezTo>
                  <a:cubicBezTo>
                    <a:pt x="361" y="389"/>
                    <a:pt x="352" y="352"/>
                    <a:pt x="333" y="352"/>
                  </a:cubicBezTo>
                  <a:cubicBezTo>
                    <a:pt x="287" y="343"/>
                    <a:pt x="269" y="389"/>
                    <a:pt x="259" y="435"/>
                  </a:cubicBezTo>
                  <a:cubicBezTo>
                    <a:pt x="278" y="435"/>
                    <a:pt x="287" y="426"/>
                    <a:pt x="287" y="417"/>
                  </a:cubicBezTo>
                  <a:cubicBezTo>
                    <a:pt x="306" y="435"/>
                    <a:pt x="306" y="445"/>
                    <a:pt x="333" y="435"/>
                  </a:cubicBezTo>
                  <a:cubicBezTo>
                    <a:pt x="333" y="445"/>
                    <a:pt x="296" y="435"/>
                    <a:pt x="296" y="454"/>
                  </a:cubicBezTo>
                  <a:cubicBezTo>
                    <a:pt x="315" y="472"/>
                    <a:pt x="333" y="491"/>
                    <a:pt x="352" y="482"/>
                  </a:cubicBezTo>
                  <a:cubicBezTo>
                    <a:pt x="352" y="482"/>
                    <a:pt x="361" y="491"/>
                    <a:pt x="361" y="500"/>
                  </a:cubicBezTo>
                  <a:cubicBezTo>
                    <a:pt x="343" y="491"/>
                    <a:pt x="324" y="491"/>
                    <a:pt x="306" y="500"/>
                  </a:cubicBezTo>
                  <a:cubicBezTo>
                    <a:pt x="306" y="491"/>
                    <a:pt x="315" y="491"/>
                    <a:pt x="315" y="482"/>
                  </a:cubicBezTo>
                  <a:cubicBezTo>
                    <a:pt x="269" y="463"/>
                    <a:pt x="195" y="472"/>
                    <a:pt x="185" y="519"/>
                  </a:cubicBezTo>
                  <a:cubicBezTo>
                    <a:pt x="176" y="519"/>
                    <a:pt x="167" y="519"/>
                    <a:pt x="158" y="519"/>
                  </a:cubicBezTo>
                  <a:cubicBezTo>
                    <a:pt x="250" y="352"/>
                    <a:pt x="398" y="213"/>
                    <a:pt x="574" y="139"/>
                  </a:cubicBezTo>
                  <a:cubicBezTo>
                    <a:pt x="556" y="158"/>
                    <a:pt x="556" y="185"/>
                    <a:pt x="593" y="185"/>
                  </a:cubicBezTo>
                  <a:cubicBezTo>
                    <a:pt x="602" y="204"/>
                    <a:pt x="583" y="204"/>
                    <a:pt x="583" y="213"/>
                  </a:cubicBezTo>
                  <a:cubicBezTo>
                    <a:pt x="611" y="241"/>
                    <a:pt x="657" y="213"/>
                    <a:pt x="685" y="213"/>
                  </a:cubicBezTo>
                  <a:cubicBezTo>
                    <a:pt x="694" y="204"/>
                    <a:pt x="685" y="195"/>
                    <a:pt x="694" y="176"/>
                  </a:cubicBezTo>
                  <a:cubicBezTo>
                    <a:pt x="722" y="167"/>
                    <a:pt x="731" y="139"/>
                    <a:pt x="750" y="121"/>
                  </a:cubicBezTo>
                  <a:cubicBezTo>
                    <a:pt x="768" y="102"/>
                    <a:pt x="806" y="102"/>
                    <a:pt x="815" y="65"/>
                  </a:cubicBezTo>
                  <a:cubicBezTo>
                    <a:pt x="833" y="65"/>
                    <a:pt x="843" y="56"/>
                    <a:pt x="861" y="65"/>
                  </a:cubicBezTo>
                  <a:cubicBezTo>
                    <a:pt x="852" y="74"/>
                    <a:pt x="824" y="74"/>
                    <a:pt x="815" y="93"/>
                  </a:cubicBezTo>
                  <a:cubicBezTo>
                    <a:pt x="806" y="102"/>
                    <a:pt x="824" y="93"/>
                    <a:pt x="824" y="102"/>
                  </a:cubicBezTo>
                  <a:cubicBezTo>
                    <a:pt x="815" y="121"/>
                    <a:pt x="768" y="121"/>
                    <a:pt x="750" y="139"/>
                  </a:cubicBezTo>
                  <a:cubicBezTo>
                    <a:pt x="750" y="148"/>
                    <a:pt x="750" y="148"/>
                    <a:pt x="750" y="158"/>
                  </a:cubicBezTo>
                  <a:cubicBezTo>
                    <a:pt x="759" y="176"/>
                    <a:pt x="806" y="148"/>
                    <a:pt x="815" y="167"/>
                  </a:cubicBezTo>
                  <a:cubicBezTo>
                    <a:pt x="787" y="176"/>
                    <a:pt x="768" y="158"/>
                    <a:pt x="759" y="176"/>
                  </a:cubicBezTo>
                  <a:cubicBezTo>
                    <a:pt x="759" y="195"/>
                    <a:pt x="778" y="185"/>
                    <a:pt x="778" y="213"/>
                  </a:cubicBezTo>
                  <a:cubicBezTo>
                    <a:pt x="880" y="176"/>
                    <a:pt x="935" y="269"/>
                    <a:pt x="907" y="333"/>
                  </a:cubicBezTo>
                  <a:cubicBezTo>
                    <a:pt x="926" y="352"/>
                    <a:pt x="935" y="333"/>
                    <a:pt x="954" y="333"/>
                  </a:cubicBezTo>
                  <a:cubicBezTo>
                    <a:pt x="954" y="343"/>
                    <a:pt x="954" y="352"/>
                    <a:pt x="963" y="352"/>
                  </a:cubicBezTo>
                  <a:cubicBezTo>
                    <a:pt x="963" y="361"/>
                    <a:pt x="935" y="343"/>
                    <a:pt x="926" y="361"/>
                  </a:cubicBezTo>
                  <a:cubicBezTo>
                    <a:pt x="926" y="380"/>
                    <a:pt x="926" y="389"/>
                    <a:pt x="935" y="398"/>
                  </a:cubicBezTo>
                  <a:cubicBezTo>
                    <a:pt x="963" y="408"/>
                    <a:pt x="963" y="389"/>
                    <a:pt x="972" y="389"/>
                  </a:cubicBezTo>
                  <a:cubicBezTo>
                    <a:pt x="972" y="417"/>
                    <a:pt x="944" y="408"/>
                    <a:pt x="935" y="426"/>
                  </a:cubicBezTo>
                  <a:cubicBezTo>
                    <a:pt x="926" y="472"/>
                    <a:pt x="954" y="491"/>
                    <a:pt x="954" y="528"/>
                  </a:cubicBezTo>
                  <a:cubicBezTo>
                    <a:pt x="963" y="537"/>
                    <a:pt x="963" y="528"/>
                    <a:pt x="972" y="528"/>
                  </a:cubicBezTo>
                  <a:cubicBezTo>
                    <a:pt x="954" y="583"/>
                    <a:pt x="1018" y="630"/>
                    <a:pt x="1055" y="639"/>
                  </a:cubicBezTo>
                  <a:cubicBezTo>
                    <a:pt x="1092" y="630"/>
                    <a:pt x="1074" y="574"/>
                    <a:pt x="1092" y="556"/>
                  </a:cubicBezTo>
                  <a:cubicBezTo>
                    <a:pt x="1092" y="528"/>
                    <a:pt x="1102" y="519"/>
                    <a:pt x="1111" y="500"/>
                  </a:cubicBezTo>
                  <a:cubicBezTo>
                    <a:pt x="1148" y="500"/>
                    <a:pt x="1176" y="482"/>
                    <a:pt x="1185" y="445"/>
                  </a:cubicBezTo>
                  <a:cubicBezTo>
                    <a:pt x="1231" y="435"/>
                    <a:pt x="1296" y="426"/>
                    <a:pt x="1305" y="389"/>
                  </a:cubicBezTo>
                  <a:cubicBezTo>
                    <a:pt x="1305" y="361"/>
                    <a:pt x="1278" y="343"/>
                    <a:pt x="1287" y="306"/>
                  </a:cubicBezTo>
                  <a:cubicBezTo>
                    <a:pt x="1296" y="306"/>
                    <a:pt x="1296" y="287"/>
                    <a:pt x="1305" y="278"/>
                  </a:cubicBezTo>
                  <a:cubicBezTo>
                    <a:pt x="1305" y="269"/>
                    <a:pt x="1305" y="269"/>
                    <a:pt x="1296" y="259"/>
                  </a:cubicBezTo>
                  <a:cubicBezTo>
                    <a:pt x="1305" y="250"/>
                    <a:pt x="1305" y="278"/>
                    <a:pt x="1315" y="269"/>
                  </a:cubicBezTo>
                  <a:cubicBezTo>
                    <a:pt x="1324" y="259"/>
                    <a:pt x="1324" y="259"/>
                    <a:pt x="1324" y="259"/>
                  </a:cubicBezTo>
                  <a:cubicBezTo>
                    <a:pt x="1315" y="241"/>
                    <a:pt x="1287" y="232"/>
                    <a:pt x="1278" y="213"/>
                  </a:cubicBezTo>
                  <a:cubicBezTo>
                    <a:pt x="1278" y="204"/>
                    <a:pt x="1296" y="213"/>
                    <a:pt x="1305" y="204"/>
                  </a:cubicBezTo>
                  <a:cubicBezTo>
                    <a:pt x="1296" y="185"/>
                    <a:pt x="1278" y="185"/>
                    <a:pt x="1268" y="167"/>
                  </a:cubicBezTo>
                  <a:cubicBezTo>
                    <a:pt x="1259" y="139"/>
                    <a:pt x="1287" y="130"/>
                    <a:pt x="1287" y="111"/>
                  </a:cubicBezTo>
                  <a:cubicBezTo>
                    <a:pt x="1370" y="139"/>
                    <a:pt x="1444" y="185"/>
                    <a:pt x="1509" y="232"/>
                  </a:cubicBezTo>
                  <a:cubicBezTo>
                    <a:pt x="1527" y="259"/>
                    <a:pt x="1555" y="278"/>
                    <a:pt x="1574" y="296"/>
                  </a:cubicBezTo>
                  <a:cubicBezTo>
                    <a:pt x="1574" y="287"/>
                    <a:pt x="1574" y="287"/>
                    <a:pt x="1574" y="287"/>
                  </a:cubicBezTo>
                  <a:cubicBezTo>
                    <a:pt x="1657" y="361"/>
                    <a:pt x="1722" y="454"/>
                    <a:pt x="1777" y="556"/>
                  </a:cubicBezTo>
                  <a:cubicBezTo>
                    <a:pt x="1750" y="519"/>
                    <a:pt x="1731" y="482"/>
                    <a:pt x="1685" y="463"/>
                  </a:cubicBezTo>
                  <a:close/>
                  <a:moveTo>
                    <a:pt x="65" y="787"/>
                  </a:moveTo>
                  <a:cubicBezTo>
                    <a:pt x="74" y="759"/>
                    <a:pt x="74" y="722"/>
                    <a:pt x="111" y="713"/>
                  </a:cubicBezTo>
                  <a:cubicBezTo>
                    <a:pt x="130" y="741"/>
                    <a:pt x="121" y="787"/>
                    <a:pt x="148" y="796"/>
                  </a:cubicBezTo>
                  <a:cubicBezTo>
                    <a:pt x="148" y="815"/>
                    <a:pt x="158" y="824"/>
                    <a:pt x="167" y="843"/>
                  </a:cubicBezTo>
                  <a:cubicBezTo>
                    <a:pt x="167" y="852"/>
                    <a:pt x="167" y="861"/>
                    <a:pt x="167" y="870"/>
                  </a:cubicBezTo>
                  <a:cubicBezTo>
                    <a:pt x="176" y="889"/>
                    <a:pt x="185" y="917"/>
                    <a:pt x="195" y="926"/>
                  </a:cubicBezTo>
                  <a:cubicBezTo>
                    <a:pt x="158" y="1018"/>
                    <a:pt x="213" y="1065"/>
                    <a:pt x="241" y="1120"/>
                  </a:cubicBezTo>
                  <a:cubicBezTo>
                    <a:pt x="269" y="1166"/>
                    <a:pt x="278" y="1241"/>
                    <a:pt x="324" y="1250"/>
                  </a:cubicBezTo>
                  <a:cubicBezTo>
                    <a:pt x="324" y="1213"/>
                    <a:pt x="287" y="1185"/>
                    <a:pt x="278" y="1157"/>
                  </a:cubicBezTo>
                  <a:cubicBezTo>
                    <a:pt x="343" y="1204"/>
                    <a:pt x="352" y="1342"/>
                    <a:pt x="472" y="1342"/>
                  </a:cubicBezTo>
                  <a:cubicBezTo>
                    <a:pt x="491" y="1361"/>
                    <a:pt x="528" y="1370"/>
                    <a:pt x="546" y="1389"/>
                  </a:cubicBezTo>
                  <a:cubicBezTo>
                    <a:pt x="565" y="1426"/>
                    <a:pt x="602" y="1444"/>
                    <a:pt x="648" y="1444"/>
                  </a:cubicBezTo>
                  <a:cubicBezTo>
                    <a:pt x="676" y="1490"/>
                    <a:pt x="620" y="1509"/>
                    <a:pt x="630" y="1564"/>
                  </a:cubicBezTo>
                  <a:cubicBezTo>
                    <a:pt x="639" y="1611"/>
                    <a:pt x="722" y="1676"/>
                    <a:pt x="759" y="1694"/>
                  </a:cubicBezTo>
                  <a:cubicBezTo>
                    <a:pt x="768" y="1768"/>
                    <a:pt x="750" y="1814"/>
                    <a:pt x="759" y="1851"/>
                  </a:cubicBezTo>
                  <a:cubicBezTo>
                    <a:pt x="352" y="1759"/>
                    <a:pt x="47" y="1398"/>
                    <a:pt x="47" y="963"/>
                  </a:cubicBezTo>
                  <a:cubicBezTo>
                    <a:pt x="47" y="898"/>
                    <a:pt x="47" y="843"/>
                    <a:pt x="65" y="787"/>
                  </a:cubicBezTo>
                  <a:close/>
                  <a:moveTo>
                    <a:pt x="741" y="889"/>
                  </a:moveTo>
                  <a:cubicBezTo>
                    <a:pt x="750" y="889"/>
                    <a:pt x="731" y="907"/>
                    <a:pt x="731" y="907"/>
                  </a:cubicBezTo>
                  <a:cubicBezTo>
                    <a:pt x="722" y="907"/>
                    <a:pt x="741" y="898"/>
                    <a:pt x="741" y="889"/>
                  </a:cubicBezTo>
                  <a:close/>
                  <a:moveTo>
                    <a:pt x="926" y="917"/>
                  </a:moveTo>
                  <a:cubicBezTo>
                    <a:pt x="926" y="917"/>
                    <a:pt x="926" y="917"/>
                    <a:pt x="926" y="926"/>
                  </a:cubicBezTo>
                  <a:cubicBezTo>
                    <a:pt x="926" y="926"/>
                    <a:pt x="926" y="926"/>
                    <a:pt x="917" y="926"/>
                  </a:cubicBezTo>
                  <a:cubicBezTo>
                    <a:pt x="917" y="917"/>
                    <a:pt x="917" y="917"/>
                    <a:pt x="917" y="917"/>
                  </a:cubicBezTo>
                  <a:cubicBezTo>
                    <a:pt x="917" y="917"/>
                    <a:pt x="917" y="917"/>
                    <a:pt x="926" y="917"/>
                  </a:cubicBezTo>
                  <a:close/>
                  <a:moveTo>
                    <a:pt x="824" y="898"/>
                  </a:moveTo>
                  <a:cubicBezTo>
                    <a:pt x="824" y="898"/>
                    <a:pt x="815" y="898"/>
                    <a:pt x="815" y="907"/>
                  </a:cubicBezTo>
                  <a:cubicBezTo>
                    <a:pt x="806" y="907"/>
                    <a:pt x="806" y="907"/>
                    <a:pt x="806" y="907"/>
                  </a:cubicBezTo>
                  <a:cubicBezTo>
                    <a:pt x="796" y="889"/>
                    <a:pt x="815" y="870"/>
                    <a:pt x="796" y="861"/>
                  </a:cubicBezTo>
                  <a:cubicBezTo>
                    <a:pt x="768" y="861"/>
                    <a:pt x="768" y="880"/>
                    <a:pt x="741" y="889"/>
                  </a:cubicBezTo>
                  <a:cubicBezTo>
                    <a:pt x="750" y="861"/>
                    <a:pt x="778" y="861"/>
                    <a:pt x="796" y="852"/>
                  </a:cubicBezTo>
                  <a:cubicBezTo>
                    <a:pt x="796" y="861"/>
                    <a:pt x="806" y="861"/>
                    <a:pt x="806" y="870"/>
                  </a:cubicBezTo>
                  <a:cubicBezTo>
                    <a:pt x="806" y="880"/>
                    <a:pt x="806" y="880"/>
                    <a:pt x="806" y="880"/>
                  </a:cubicBezTo>
                  <a:cubicBezTo>
                    <a:pt x="806" y="889"/>
                    <a:pt x="824" y="880"/>
                    <a:pt x="824" y="898"/>
                  </a:cubicBezTo>
                  <a:close/>
                  <a:moveTo>
                    <a:pt x="1213" y="84"/>
                  </a:moveTo>
                  <a:cubicBezTo>
                    <a:pt x="1222" y="84"/>
                    <a:pt x="1222" y="84"/>
                    <a:pt x="1222" y="84"/>
                  </a:cubicBezTo>
                  <a:cubicBezTo>
                    <a:pt x="1222" y="93"/>
                    <a:pt x="1222" y="93"/>
                    <a:pt x="1222" y="93"/>
                  </a:cubicBezTo>
                  <a:cubicBezTo>
                    <a:pt x="1213" y="93"/>
                    <a:pt x="1213" y="84"/>
                    <a:pt x="1213" y="84"/>
                  </a:cubicBezTo>
                  <a:close/>
                  <a:moveTo>
                    <a:pt x="1185" y="74"/>
                  </a:moveTo>
                  <a:cubicBezTo>
                    <a:pt x="1185" y="74"/>
                    <a:pt x="1185" y="74"/>
                    <a:pt x="1185" y="74"/>
                  </a:cubicBezTo>
                  <a:cubicBezTo>
                    <a:pt x="1185" y="74"/>
                    <a:pt x="1185" y="74"/>
                    <a:pt x="1176" y="74"/>
                  </a:cubicBezTo>
                  <a:cubicBezTo>
                    <a:pt x="1185" y="74"/>
                    <a:pt x="1185" y="74"/>
                    <a:pt x="1185" y="74"/>
                  </a:cubicBezTo>
                  <a:close/>
                  <a:moveTo>
                    <a:pt x="630" y="111"/>
                  </a:moveTo>
                  <a:cubicBezTo>
                    <a:pt x="630" y="111"/>
                    <a:pt x="630" y="111"/>
                    <a:pt x="630" y="111"/>
                  </a:cubicBezTo>
                  <a:cubicBezTo>
                    <a:pt x="620" y="111"/>
                    <a:pt x="620" y="111"/>
                    <a:pt x="620" y="111"/>
                  </a:cubicBezTo>
                  <a:cubicBezTo>
                    <a:pt x="620" y="111"/>
                    <a:pt x="620" y="111"/>
                    <a:pt x="630" y="1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grpSp>
    </p:spTree>
    <p:extLst>
      <p:ext uri="{BB962C8B-B14F-4D97-AF65-F5344CB8AC3E}">
        <p14:creationId xmlns:p14="http://schemas.microsoft.com/office/powerpoint/2010/main" val="293325770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8"/>
                                        </p:tgtEl>
                                        <p:attrNameLst>
                                          <p:attrName>style.visibility</p:attrName>
                                        </p:attrNameLst>
                                      </p:cBhvr>
                                      <p:to>
                                        <p:strVal val="visible"/>
                                      </p:to>
                                    </p:set>
                                    <p:animEffect transition="in" filter="fade">
                                      <p:cBhvr>
                                        <p:cTn id="11" dur="500"/>
                                        <p:tgtEl>
                                          <p:spTgt spid="3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3"/>
                                        </p:tgtEl>
                                        <p:attrNameLst>
                                          <p:attrName>style.visibility</p:attrName>
                                        </p:attrNameLst>
                                      </p:cBhvr>
                                      <p:to>
                                        <p:strVal val="visible"/>
                                      </p:to>
                                    </p:set>
                                    <p:animEffect transition="in" filter="fade">
                                      <p:cBhvr>
                                        <p:cTn id="15" dur="500"/>
                                        <p:tgtEl>
                                          <p:spTgt spid="33"/>
                                        </p:tgtEl>
                                      </p:cBhvr>
                                    </p:animEffect>
                                  </p:childTnLst>
                                </p:cTn>
                              </p:par>
                            </p:childTnLst>
                          </p:cTn>
                        </p:par>
                        <p:par>
                          <p:cTn id="16" fill="hold">
                            <p:stCondLst>
                              <p:cond delay="1500"/>
                            </p:stCondLst>
                            <p:childTnLst>
                              <p:par>
                                <p:cTn id="17" presetID="53" presetClass="entr" presetSubtype="16" fill="hold" nodeType="afterEffect">
                                  <p:stCondLst>
                                    <p:cond delay="0"/>
                                  </p:stCondLst>
                                  <p:childTnLst>
                                    <p:set>
                                      <p:cBhvr>
                                        <p:cTn id="18" dur="1" fill="hold">
                                          <p:stCondLst>
                                            <p:cond delay="0"/>
                                          </p:stCondLst>
                                        </p:cTn>
                                        <p:tgtEl>
                                          <p:spTgt spid="46"/>
                                        </p:tgtEl>
                                        <p:attrNameLst>
                                          <p:attrName>style.visibility</p:attrName>
                                        </p:attrNameLst>
                                      </p:cBhvr>
                                      <p:to>
                                        <p:strVal val="visible"/>
                                      </p:to>
                                    </p:set>
                                    <p:anim calcmode="lin" valueType="num">
                                      <p:cBhvr>
                                        <p:cTn id="19" dur="250" fill="hold"/>
                                        <p:tgtEl>
                                          <p:spTgt spid="46"/>
                                        </p:tgtEl>
                                        <p:attrNameLst>
                                          <p:attrName>ppt_w</p:attrName>
                                        </p:attrNameLst>
                                      </p:cBhvr>
                                      <p:tavLst>
                                        <p:tav tm="0">
                                          <p:val>
                                            <p:fltVal val="0"/>
                                          </p:val>
                                        </p:tav>
                                        <p:tav tm="100000">
                                          <p:val>
                                            <p:strVal val="#ppt_w"/>
                                          </p:val>
                                        </p:tav>
                                      </p:tavLst>
                                    </p:anim>
                                    <p:anim calcmode="lin" valueType="num">
                                      <p:cBhvr>
                                        <p:cTn id="20" dur="250" fill="hold"/>
                                        <p:tgtEl>
                                          <p:spTgt spid="46"/>
                                        </p:tgtEl>
                                        <p:attrNameLst>
                                          <p:attrName>ppt_h</p:attrName>
                                        </p:attrNameLst>
                                      </p:cBhvr>
                                      <p:tavLst>
                                        <p:tav tm="0">
                                          <p:val>
                                            <p:fltVal val="0"/>
                                          </p:val>
                                        </p:tav>
                                        <p:tav tm="100000">
                                          <p:val>
                                            <p:strVal val="#ppt_h"/>
                                          </p:val>
                                        </p:tav>
                                      </p:tavLst>
                                    </p:anim>
                                    <p:animEffect transition="in" filter="fade">
                                      <p:cBhvr>
                                        <p:cTn id="21" dur="250"/>
                                        <p:tgtEl>
                                          <p:spTgt spid="46"/>
                                        </p:tgtEl>
                                      </p:cBhvr>
                                    </p:animEffect>
                                  </p:childTnLst>
                                </p:cTn>
                              </p:par>
                            </p:childTnLst>
                          </p:cTn>
                        </p:par>
                        <p:par>
                          <p:cTn id="22" fill="hold">
                            <p:stCondLst>
                              <p:cond delay="1750"/>
                            </p:stCondLst>
                            <p:childTnLst>
                              <p:par>
                                <p:cTn id="23" presetID="53" presetClass="entr" presetSubtype="16" fill="hold" nodeType="afterEffect">
                                  <p:stCondLst>
                                    <p:cond delay="0"/>
                                  </p:stCondLst>
                                  <p:childTnLst>
                                    <p:set>
                                      <p:cBhvr>
                                        <p:cTn id="24" dur="1" fill="hold">
                                          <p:stCondLst>
                                            <p:cond delay="0"/>
                                          </p:stCondLst>
                                        </p:cTn>
                                        <p:tgtEl>
                                          <p:spTgt spid="69"/>
                                        </p:tgtEl>
                                        <p:attrNameLst>
                                          <p:attrName>style.visibility</p:attrName>
                                        </p:attrNameLst>
                                      </p:cBhvr>
                                      <p:to>
                                        <p:strVal val="visible"/>
                                      </p:to>
                                    </p:set>
                                    <p:anim calcmode="lin" valueType="num">
                                      <p:cBhvr>
                                        <p:cTn id="25" dur="250" fill="hold"/>
                                        <p:tgtEl>
                                          <p:spTgt spid="69"/>
                                        </p:tgtEl>
                                        <p:attrNameLst>
                                          <p:attrName>ppt_w</p:attrName>
                                        </p:attrNameLst>
                                      </p:cBhvr>
                                      <p:tavLst>
                                        <p:tav tm="0">
                                          <p:val>
                                            <p:fltVal val="0"/>
                                          </p:val>
                                        </p:tav>
                                        <p:tav tm="100000">
                                          <p:val>
                                            <p:strVal val="#ppt_w"/>
                                          </p:val>
                                        </p:tav>
                                      </p:tavLst>
                                    </p:anim>
                                    <p:anim calcmode="lin" valueType="num">
                                      <p:cBhvr>
                                        <p:cTn id="26" dur="250" fill="hold"/>
                                        <p:tgtEl>
                                          <p:spTgt spid="69"/>
                                        </p:tgtEl>
                                        <p:attrNameLst>
                                          <p:attrName>ppt_h</p:attrName>
                                        </p:attrNameLst>
                                      </p:cBhvr>
                                      <p:tavLst>
                                        <p:tav tm="0">
                                          <p:val>
                                            <p:fltVal val="0"/>
                                          </p:val>
                                        </p:tav>
                                        <p:tav tm="100000">
                                          <p:val>
                                            <p:strVal val="#ppt_h"/>
                                          </p:val>
                                        </p:tav>
                                      </p:tavLst>
                                    </p:anim>
                                    <p:animEffect transition="in" filter="fade">
                                      <p:cBhvr>
                                        <p:cTn id="27" dur="250"/>
                                        <p:tgtEl>
                                          <p:spTgt spid="69"/>
                                        </p:tgtEl>
                                      </p:cBhvr>
                                    </p:animEffect>
                                  </p:childTnLst>
                                </p:cTn>
                              </p:par>
                            </p:childTnLst>
                          </p:cTn>
                        </p:par>
                        <p:par>
                          <p:cTn id="28" fill="hold">
                            <p:stCondLst>
                              <p:cond delay="2000"/>
                            </p:stCondLst>
                            <p:childTnLst>
                              <p:par>
                                <p:cTn id="29" presetID="53" presetClass="entr" presetSubtype="16" fill="hold" nodeType="afterEffect">
                                  <p:stCondLst>
                                    <p:cond delay="0"/>
                                  </p:stCondLst>
                                  <p:childTnLst>
                                    <p:set>
                                      <p:cBhvr>
                                        <p:cTn id="30" dur="1" fill="hold">
                                          <p:stCondLst>
                                            <p:cond delay="0"/>
                                          </p:stCondLst>
                                        </p:cTn>
                                        <p:tgtEl>
                                          <p:spTgt spid="76"/>
                                        </p:tgtEl>
                                        <p:attrNameLst>
                                          <p:attrName>style.visibility</p:attrName>
                                        </p:attrNameLst>
                                      </p:cBhvr>
                                      <p:to>
                                        <p:strVal val="visible"/>
                                      </p:to>
                                    </p:set>
                                    <p:anim calcmode="lin" valueType="num">
                                      <p:cBhvr>
                                        <p:cTn id="31" dur="250" fill="hold"/>
                                        <p:tgtEl>
                                          <p:spTgt spid="76"/>
                                        </p:tgtEl>
                                        <p:attrNameLst>
                                          <p:attrName>ppt_w</p:attrName>
                                        </p:attrNameLst>
                                      </p:cBhvr>
                                      <p:tavLst>
                                        <p:tav tm="0">
                                          <p:val>
                                            <p:fltVal val="0"/>
                                          </p:val>
                                        </p:tav>
                                        <p:tav tm="100000">
                                          <p:val>
                                            <p:strVal val="#ppt_w"/>
                                          </p:val>
                                        </p:tav>
                                      </p:tavLst>
                                    </p:anim>
                                    <p:anim calcmode="lin" valueType="num">
                                      <p:cBhvr>
                                        <p:cTn id="32" dur="250" fill="hold"/>
                                        <p:tgtEl>
                                          <p:spTgt spid="76"/>
                                        </p:tgtEl>
                                        <p:attrNameLst>
                                          <p:attrName>ppt_h</p:attrName>
                                        </p:attrNameLst>
                                      </p:cBhvr>
                                      <p:tavLst>
                                        <p:tav tm="0">
                                          <p:val>
                                            <p:fltVal val="0"/>
                                          </p:val>
                                        </p:tav>
                                        <p:tav tm="100000">
                                          <p:val>
                                            <p:strVal val="#ppt_h"/>
                                          </p:val>
                                        </p:tav>
                                      </p:tavLst>
                                    </p:anim>
                                    <p:animEffect transition="in" filter="fade">
                                      <p:cBhvr>
                                        <p:cTn id="33" dur="25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p:cNvPicPr>
            <a:picLocks noChangeAspect="1"/>
          </p:cNvPicPr>
          <p:nvPr/>
        </p:nvPicPr>
        <p:blipFill rotWithShape="1">
          <a:blip r:embed="rId3">
            <a:extLst>
              <a:ext uri="{28A0092B-C50C-407E-A947-70E740481C1C}">
                <a14:useLocalDpi xmlns:a14="http://schemas.microsoft.com/office/drawing/2010/main" val="0"/>
              </a:ext>
            </a:extLst>
          </a:blip>
          <a:srcRect t="3110" b="53339"/>
          <a:stretch/>
        </p:blipFill>
        <p:spPr>
          <a:xfrm>
            <a:off x="976386" y="1354799"/>
            <a:ext cx="2703511" cy="2091496"/>
          </a:xfrm>
          <a:prstGeom prst="rect">
            <a:avLst/>
          </a:prstGeom>
          <a:solidFill>
            <a:srgbClr val="FFFFFF">
              <a:shade val="85000"/>
            </a:srgbClr>
          </a:solidFill>
          <a:ln w="12700" cap="rnd">
            <a:solidFill>
              <a:schemeClr val="bg1"/>
            </a:solidFill>
            <a:miter lim="800000"/>
          </a:ln>
          <a:effectLst>
            <a:outerShdw blurRad="36195" dist="12700" dir="11400000" algn="tl" rotWithShape="0">
              <a:srgbClr val="000000">
                <a:alpha val="33000"/>
              </a:srgbClr>
            </a:outerShdw>
          </a:effectLst>
        </p:spPr>
      </p:pic>
      <p:pic>
        <p:nvPicPr>
          <p:cNvPr id="24" name="Picture 23"/>
          <p:cNvPicPr>
            <a:picLocks noChangeAspect="1"/>
          </p:cNvPicPr>
          <p:nvPr/>
        </p:nvPicPr>
        <p:blipFill rotWithShape="1">
          <a:blip r:embed="rId4">
            <a:extLst>
              <a:ext uri="{28A0092B-C50C-407E-A947-70E740481C1C}">
                <a14:useLocalDpi xmlns:a14="http://schemas.microsoft.com/office/drawing/2010/main" val="0"/>
              </a:ext>
            </a:extLst>
          </a:blip>
          <a:srcRect b="56018"/>
          <a:stretch/>
        </p:blipFill>
        <p:spPr>
          <a:xfrm>
            <a:off x="4761161" y="1351389"/>
            <a:ext cx="2688574" cy="2094907"/>
          </a:xfrm>
          <a:prstGeom prst="rect">
            <a:avLst/>
          </a:prstGeom>
          <a:solidFill>
            <a:srgbClr val="FFFFFF">
              <a:shade val="85000"/>
            </a:srgbClr>
          </a:solidFill>
          <a:ln w="12700" cap="rnd">
            <a:solidFill>
              <a:schemeClr val="bg1"/>
            </a:solidFill>
            <a:miter lim="800000"/>
          </a:ln>
          <a:effectLst>
            <a:outerShdw blurRad="36195" dist="12700" dir="11400000" algn="tl" rotWithShape="0">
              <a:srgbClr val="000000">
                <a:alpha val="33000"/>
              </a:srgbClr>
            </a:outerShdw>
          </a:effectLst>
        </p:spPr>
      </p:pic>
      <p:pic>
        <p:nvPicPr>
          <p:cNvPr id="25" name="Picture 24"/>
          <p:cNvPicPr>
            <a:picLocks noChangeAspect="1"/>
          </p:cNvPicPr>
          <p:nvPr/>
        </p:nvPicPr>
        <p:blipFill rotWithShape="1">
          <a:blip r:embed="rId5">
            <a:extLst>
              <a:ext uri="{28A0092B-C50C-407E-A947-70E740481C1C}">
                <a14:useLocalDpi xmlns:a14="http://schemas.microsoft.com/office/drawing/2010/main" val="0"/>
              </a:ext>
            </a:extLst>
          </a:blip>
          <a:srcRect t="-1" b="56285"/>
          <a:stretch/>
        </p:blipFill>
        <p:spPr>
          <a:xfrm>
            <a:off x="8504686" y="1357070"/>
            <a:ext cx="2688574" cy="2089224"/>
          </a:xfrm>
          <a:prstGeom prst="rect">
            <a:avLst/>
          </a:prstGeom>
          <a:solidFill>
            <a:srgbClr val="FFFFFF">
              <a:shade val="85000"/>
            </a:srgbClr>
          </a:solidFill>
          <a:ln w="12700" cap="rnd">
            <a:solidFill>
              <a:schemeClr val="bg1"/>
            </a:solidFill>
            <a:miter lim="800000"/>
          </a:ln>
          <a:effectLst>
            <a:outerShdw blurRad="36195" dist="12700" dir="11400000" algn="tl" rotWithShape="0">
              <a:srgbClr val="000000">
                <a:alpha val="33000"/>
              </a:srgbClr>
            </a:outerShdw>
          </a:effectLst>
        </p:spPr>
      </p:pic>
      <p:sp>
        <p:nvSpPr>
          <p:cNvPr id="26" name="TextBox 25"/>
          <p:cNvSpPr txBox="1"/>
          <p:nvPr/>
        </p:nvSpPr>
        <p:spPr>
          <a:xfrm>
            <a:off x="980242" y="469419"/>
            <a:ext cx="10231518" cy="573131"/>
          </a:xfrm>
          <a:prstGeom prst="rect">
            <a:avLst/>
          </a:prstGeom>
          <a:noFill/>
        </p:spPr>
        <p:txBody>
          <a:bodyPr wrap="square" rtlCol="0">
            <a:spAutoFit/>
          </a:bodyPr>
          <a:lstStyle/>
          <a:p>
            <a:pPr algn="ctr" defTabSz="914040">
              <a:defRPr/>
            </a:pPr>
            <a:r>
              <a:rPr lang="en-US" sz="3136" kern="0" dirty="0">
                <a:gradFill>
                  <a:gsLst>
                    <a:gs pos="88514">
                      <a:prstClr val="white"/>
                    </a:gs>
                    <a:gs pos="54000">
                      <a:prstClr val="white"/>
                    </a:gs>
                  </a:gsLst>
                  <a:lin ang="5400000" scaled="0"/>
                </a:gradFill>
                <a:latin typeface="Segoe UI Light" panose="020B0502040204020203" pitchFamily="34" charset="0"/>
                <a:cs typeface="Segoe UI Light" panose="020B0502040204020203" pitchFamily="34" charset="0"/>
              </a:rPr>
              <a:t>For example…</a:t>
            </a:r>
            <a:endParaRPr lang="en-US" sz="3136" kern="0" dirty="0">
              <a:gradFill>
                <a:gsLst>
                  <a:gs pos="88514">
                    <a:prstClr val="white"/>
                  </a:gs>
                  <a:gs pos="54000">
                    <a:prstClr val="white"/>
                  </a:gs>
                </a:gsLst>
                <a:lin ang="5400000" scaled="0"/>
              </a:gradFill>
              <a:latin typeface="Segoe UI" panose="020B0502040204020203" pitchFamily="34" charset="0"/>
              <a:cs typeface="Segoe UI" panose="020B0502040204020203" pitchFamily="34" charset="0"/>
            </a:endParaRPr>
          </a:p>
        </p:txBody>
      </p:sp>
      <p:grpSp>
        <p:nvGrpSpPr>
          <p:cNvPr id="27" name="Group 26"/>
          <p:cNvGrpSpPr/>
          <p:nvPr/>
        </p:nvGrpSpPr>
        <p:grpSpPr>
          <a:xfrm>
            <a:off x="771314" y="3560992"/>
            <a:ext cx="3136670" cy="2825753"/>
            <a:chOff x="788813" y="3631933"/>
            <a:chExt cx="3200400" cy="2883166"/>
          </a:xfrm>
        </p:grpSpPr>
        <p:sp>
          <p:nvSpPr>
            <p:cNvPr id="28" name="Rectangle 27"/>
            <p:cNvSpPr/>
            <p:nvPr/>
          </p:nvSpPr>
          <p:spPr>
            <a:xfrm>
              <a:off x="788813" y="3631933"/>
              <a:ext cx="3200400" cy="2883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79238" tIns="268857" rIns="179238" rtlCol="0" anchor="t" anchorCtr="0"/>
            <a:lstStyle/>
            <a:p>
              <a:pPr marL="112014" defTabSz="914040">
                <a:defRPr/>
              </a:pPr>
              <a:r>
                <a:rPr lang="en-US" sz="2352" kern="0" dirty="0">
                  <a:gradFill>
                    <a:gsLst>
                      <a:gs pos="5405">
                        <a:srgbClr val="505050"/>
                      </a:gs>
                      <a:gs pos="18919">
                        <a:srgbClr val="505050"/>
                      </a:gs>
                    </a:gsLst>
                    <a:lin ang="5400000" scaled="0"/>
                  </a:gradFill>
                  <a:latin typeface="Segoe UI" panose="020B0502040204020203" pitchFamily="34" charset="0"/>
                  <a:cs typeface="Segoe UI" panose="020B0502040204020203" pitchFamily="34" charset="0"/>
                </a:rPr>
                <a:t>Engage your employees</a:t>
              </a:r>
            </a:p>
          </p:txBody>
        </p:sp>
        <p:sp>
          <p:nvSpPr>
            <p:cNvPr id="29" name="Rectangle 28"/>
            <p:cNvSpPr/>
            <p:nvPr/>
          </p:nvSpPr>
          <p:spPr>
            <a:xfrm>
              <a:off x="788813" y="4904624"/>
              <a:ext cx="3200400" cy="1200329"/>
            </a:xfrm>
            <a:prstGeom prst="rect">
              <a:avLst/>
            </a:prstGeom>
          </p:spPr>
          <p:txBody>
            <a:bodyPr wrap="square" lIns="179238" rIns="179238">
              <a:spAutoFit/>
            </a:bodyPr>
            <a:lstStyle/>
            <a:p>
              <a:pPr marL="336044" indent="-224030" defTabSz="914040">
                <a:buFont typeface="Arial" panose="020B0604020202020204" pitchFamily="34" charset="0"/>
                <a:buChar char="•"/>
                <a:defRPr/>
              </a:pPr>
              <a:r>
                <a:rPr lang="en-US" sz="1764" kern="0" dirty="0">
                  <a:gradFill>
                    <a:gsLst>
                      <a:gs pos="97297">
                        <a:srgbClr val="505050"/>
                      </a:gs>
                      <a:gs pos="85135">
                        <a:srgbClr val="505050"/>
                      </a:gs>
                    </a:gsLst>
                    <a:lin ang="5400000" scaled="0"/>
                  </a:gradFill>
                  <a:latin typeface="Segoe UI"/>
                  <a:cs typeface="Segoe UI Light" panose="020B0502040204020203" pitchFamily="34" charset="0"/>
                </a:rPr>
                <a:t>Instant employee surveys</a:t>
              </a:r>
            </a:p>
            <a:p>
              <a:pPr marL="336044" indent="-224030" defTabSz="914040">
                <a:buFont typeface="Arial" panose="020B0604020202020204" pitchFamily="34" charset="0"/>
                <a:buChar char="•"/>
                <a:defRPr/>
              </a:pPr>
              <a:r>
                <a:rPr lang="en-US" sz="1764" kern="0" dirty="0">
                  <a:gradFill>
                    <a:gsLst>
                      <a:gs pos="97297">
                        <a:srgbClr val="505050"/>
                      </a:gs>
                      <a:gs pos="85135">
                        <a:srgbClr val="505050"/>
                      </a:gs>
                    </a:gsLst>
                    <a:lin ang="5400000" scaled="0"/>
                  </a:gradFill>
                  <a:latin typeface="Segoe UI"/>
                  <a:cs typeface="Segoe UI Light" panose="020B0502040204020203" pitchFamily="34" charset="0"/>
                </a:rPr>
                <a:t>Event-specific signups</a:t>
              </a:r>
            </a:p>
            <a:p>
              <a:pPr marL="336044" indent="-224030" defTabSz="914040">
                <a:buFont typeface="Arial" panose="020B0604020202020204" pitchFamily="34" charset="0"/>
                <a:buChar char="•"/>
                <a:defRPr/>
              </a:pPr>
              <a:r>
                <a:rPr lang="en-US" sz="1764" kern="0" dirty="0">
                  <a:gradFill>
                    <a:gsLst>
                      <a:gs pos="97297">
                        <a:srgbClr val="505050"/>
                      </a:gs>
                      <a:gs pos="85135">
                        <a:srgbClr val="505050"/>
                      </a:gs>
                    </a:gsLst>
                    <a:lin ang="5400000" scaled="0"/>
                  </a:gradFill>
                  <a:latin typeface="Segoe UI"/>
                  <a:cs typeface="Segoe UI Light" panose="020B0502040204020203" pitchFamily="34" charset="0"/>
                </a:rPr>
                <a:t>Campus resources</a:t>
              </a:r>
            </a:p>
          </p:txBody>
        </p:sp>
        <p:cxnSp>
          <p:nvCxnSpPr>
            <p:cNvPr id="30" name="Straight Connector 29"/>
            <p:cNvCxnSpPr/>
            <p:nvPr/>
          </p:nvCxnSpPr>
          <p:spPr>
            <a:xfrm flipH="1">
              <a:off x="1072003" y="4780499"/>
              <a:ext cx="2614172" cy="11557"/>
            </a:xfrm>
            <a:prstGeom prst="line">
              <a:avLst/>
            </a:prstGeom>
            <a:ln w="28575">
              <a:solidFill>
                <a:srgbClr val="0072C6"/>
              </a:solidFill>
            </a:ln>
          </p:spPr>
          <p:style>
            <a:lnRef idx="1">
              <a:schemeClr val="accent1"/>
            </a:lnRef>
            <a:fillRef idx="0">
              <a:schemeClr val="accent1"/>
            </a:fillRef>
            <a:effectRef idx="0">
              <a:schemeClr val="accent1"/>
            </a:effectRef>
            <a:fontRef idx="minor">
              <a:schemeClr val="tx1"/>
            </a:fontRef>
          </p:style>
        </p:cxnSp>
      </p:grpSp>
      <p:grpSp>
        <p:nvGrpSpPr>
          <p:cNvPr id="58" name="Group 57"/>
          <p:cNvGrpSpPr/>
          <p:nvPr/>
        </p:nvGrpSpPr>
        <p:grpSpPr>
          <a:xfrm>
            <a:off x="397955" y="3187630"/>
            <a:ext cx="746719" cy="746720"/>
            <a:chOff x="-4354857" y="2732953"/>
            <a:chExt cx="761891" cy="761892"/>
          </a:xfrm>
        </p:grpSpPr>
        <p:sp>
          <p:nvSpPr>
            <p:cNvPr id="32" name="Oval 31"/>
            <p:cNvSpPr/>
            <p:nvPr/>
          </p:nvSpPr>
          <p:spPr bwMode="auto">
            <a:xfrm>
              <a:off x="-4354857" y="2732953"/>
              <a:ext cx="761891" cy="76189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23" fontAlgn="base">
                <a:lnSpc>
                  <a:spcPct val="90000"/>
                </a:lnSpc>
                <a:spcBef>
                  <a:spcPct val="0"/>
                </a:spcBef>
                <a:spcAft>
                  <a:spcPct val="0"/>
                </a:spcAft>
                <a:defRPr/>
              </a:pPr>
              <a:endParaRPr lang="en-US" sz="2352" kern="0" dirty="0">
                <a:gradFill>
                  <a:gsLst>
                    <a:gs pos="86982">
                      <a:srgbClr val="505050"/>
                    </a:gs>
                    <a:gs pos="69822">
                      <a:srgbClr val="505050"/>
                    </a:gs>
                  </a:gsLst>
                  <a:lin ang="5400000" scaled="0"/>
                </a:gradFill>
                <a:latin typeface="Segoe UI"/>
                <a:ea typeface="Segoe UI" pitchFamily="34" charset="0"/>
                <a:cs typeface="Segoe UI" pitchFamily="34" charset="0"/>
              </a:endParaRPr>
            </a:p>
          </p:txBody>
        </p:sp>
        <p:grpSp>
          <p:nvGrpSpPr>
            <p:cNvPr id="7" name="Group 4"/>
            <p:cNvGrpSpPr>
              <a:grpSpLocks noChangeAspect="1"/>
            </p:cNvGrpSpPr>
            <p:nvPr/>
          </p:nvGrpSpPr>
          <p:grpSpPr bwMode="auto">
            <a:xfrm>
              <a:off x="-4195956" y="2883326"/>
              <a:ext cx="444088" cy="461146"/>
              <a:chOff x="1575" y="-339"/>
              <a:chExt cx="4686" cy="4866"/>
            </a:xfrm>
            <a:solidFill>
              <a:schemeClr val="bg1"/>
            </a:solidFill>
          </p:grpSpPr>
          <p:sp>
            <p:nvSpPr>
              <p:cNvPr id="12" name="Freeform 5"/>
              <p:cNvSpPr>
                <a:spLocks/>
              </p:cNvSpPr>
              <p:nvPr/>
            </p:nvSpPr>
            <p:spPr bwMode="auto">
              <a:xfrm>
                <a:off x="2211" y="-339"/>
                <a:ext cx="3411" cy="4866"/>
              </a:xfrm>
              <a:custGeom>
                <a:avLst/>
                <a:gdLst>
                  <a:gd name="T0" fmla="*/ 1182 w 1442"/>
                  <a:gd name="T1" fmla="*/ 187 h 2057"/>
                  <a:gd name="T2" fmla="*/ 826 w 1442"/>
                  <a:gd name="T3" fmla="*/ 652 h 2057"/>
                  <a:gd name="T4" fmla="*/ 617 w 1442"/>
                  <a:gd name="T5" fmla="*/ 652 h 2057"/>
                  <a:gd name="T6" fmla="*/ 260 w 1442"/>
                  <a:gd name="T7" fmla="*/ 187 h 2057"/>
                  <a:gd name="T8" fmla="*/ 170 w 1442"/>
                  <a:gd name="T9" fmla="*/ 249 h 2057"/>
                  <a:gd name="T10" fmla="*/ 537 w 1442"/>
                  <a:gd name="T11" fmla="*/ 782 h 2057"/>
                  <a:gd name="T12" fmla="*/ 537 w 1442"/>
                  <a:gd name="T13" fmla="*/ 1955 h 2057"/>
                  <a:gd name="T14" fmla="*/ 537 w 1442"/>
                  <a:gd name="T15" fmla="*/ 2057 h 2057"/>
                  <a:gd name="T16" fmla="*/ 690 w 1442"/>
                  <a:gd name="T17" fmla="*/ 2057 h 2057"/>
                  <a:gd name="T18" fmla="*/ 690 w 1442"/>
                  <a:gd name="T19" fmla="*/ 1955 h 2057"/>
                  <a:gd name="T20" fmla="*/ 690 w 1442"/>
                  <a:gd name="T21" fmla="*/ 1354 h 2057"/>
                  <a:gd name="T22" fmla="*/ 752 w 1442"/>
                  <a:gd name="T23" fmla="*/ 1354 h 2057"/>
                  <a:gd name="T24" fmla="*/ 752 w 1442"/>
                  <a:gd name="T25" fmla="*/ 1955 h 2057"/>
                  <a:gd name="T26" fmla="*/ 752 w 1442"/>
                  <a:gd name="T27" fmla="*/ 2057 h 2057"/>
                  <a:gd name="T28" fmla="*/ 905 w 1442"/>
                  <a:gd name="T29" fmla="*/ 2057 h 2057"/>
                  <a:gd name="T30" fmla="*/ 905 w 1442"/>
                  <a:gd name="T31" fmla="*/ 1955 h 2057"/>
                  <a:gd name="T32" fmla="*/ 905 w 1442"/>
                  <a:gd name="T33" fmla="*/ 782 h 2057"/>
                  <a:gd name="T34" fmla="*/ 1272 w 1442"/>
                  <a:gd name="T35" fmla="*/ 249 h 2057"/>
                  <a:gd name="T36" fmla="*/ 1182 w 1442"/>
                  <a:gd name="T37" fmla="*/ 187 h 2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42" h="2057">
                    <a:moveTo>
                      <a:pt x="1182" y="187"/>
                    </a:moveTo>
                    <a:cubicBezTo>
                      <a:pt x="1103" y="328"/>
                      <a:pt x="962" y="504"/>
                      <a:pt x="826" y="652"/>
                    </a:cubicBezTo>
                    <a:cubicBezTo>
                      <a:pt x="617" y="652"/>
                      <a:pt x="617" y="652"/>
                      <a:pt x="617" y="652"/>
                    </a:cubicBezTo>
                    <a:cubicBezTo>
                      <a:pt x="481" y="504"/>
                      <a:pt x="340" y="328"/>
                      <a:pt x="260" y="187"/>
                    </a:cubicBezTo>
                    <a:cubicBezTo>
                      <a:pt x="249" y="0"/>
                      <a:pt x="0" y="124"/>
                      <a:pt x="170" y="249"/>
                    </a:cubicBezTo>
                    <a:cubicBezTo>
                      <a:pt x="283" y="425"/>
                      <a:pt x="396" y="589"/>
                      <a:pt x="537" y="782"/>
                    </a:cubicBezTo>
                    <a:cubicBezTo>
                      <a:pt x="537" y="782"/>
                      <a:pt x="537" y="1757"/>
                      <a:pt x="537" y="1955"/>
                    </a:cubicBezTo>
                    <a:cubicBezTo>
                      <a:pt x="617" y="1955"/>
                      <a:pt x="537" y="1972"/>
                      <a:pt x="537" y="2057"/>
                    </a:cubicBezTo>
                    <a:cubicBezTo>
                      <a:pt x="690" y="2057"/>
                      <a:pt x="690" y="2057"/>
                      <a:pt x="690" y="2057"/>
                    </a:cubicBezTo>
                    <a:cubicBezTo>
                      <a:pt x="690" y="1972"/>
                      <a:pt x="605" y="1955"/>
                      <a:pt x="690" y="1955"/>
                    </a:cubicBezTo>
                    <a:cubicBezTo>
                      <a:pt x="690" y="1354"/>
                      <a:pt x="690" y="1354"/>
                      <a:pt x="690" y="1354"/>
                    </a:cubicBezTo>
                    <a:cubicBezTo>
                      <a:pt x="752" y="1354"/>
                      <a:pt x="752" y="1354"/>
                      <a:pt x="752" y="1354"/>
                    </a:cubicBezTo>
                    <a:cubicBezTo>
                      <a:pt x="752" y="1955"/>
                      <a:pt x="752" y="1955"/>
                      <a:pt x="752" y="1955"/>
                    </a:cubicBezTo>
                    <a:cubicBezTo>
                      <a:pt x="843" y="1955"/>
                      <a:pt x="752" y="1972"/>
                      <a:pt x="752" y="2057"/>
                    </a:cubicBezTo>
                    <a:cubicBezTo>
                      <a:pt x="905" y="2057"/>
                      <a:pt x="905" y="2057"/>
                      <a:pt x="905" y="2057"/>
                    </a:cubicBezTo>
                    <a:cubicBezTo>
                      <a:pt x="905" y="1972"/>
                      <a:pt x="826" y="1955"/>
                      <a:pt x="905" y="1955"/>
                    </a:cubicBezTo>
                    <a:cubicBezTo>
                      <a:pt x="905" y="1757"/>
                      <a:pt x="905" y="782"/>
                      <a:pt x="905" y="782"/>
                    </a:cubicBezTo>
                    <a:cubicBezTo>
                      <a:pt x="1046" y="589"/>
                      <a:pt x="1159" y="425"/>
                      <a:pt x="1272" y="249"/>
                    </a:cubicBezTo>
                    <a:cubicBezTo>
                      <a:pt x="1442" y="124"/>
                      <a:pt x="1193" y="0"/>
                      <a:pt x="1182" y="1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13" name="Oval 6"/>
              <p:cNvSpPr>
                <a:spLocks noChangeArrowheads="1"/>
              </p:cNvSpPr>
              <p:nvPr/>
            </p:nvSpPr>
            <p:spPr bwMode="auto">
              <a:xfrm>
                <a:off x="3579" y="196"/>
                <a:ext cx="688" cy="79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15" name="Oval 7"/>
              <p:cNvSpPr>
                <a:spLocks noChangeArrowheads="1"/>
              </p:cNvSpPr>
              <p:nvPr/>
            </p:nvSpPr>
            <p:spPr bwMode="auto">
              <a:xfrm>
                <a:off x="2708" y="1492"/>
                <a:ext cx="525" cy="6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16" name="Oval 8"/>
              <p:cNvSpPr>
                <a:spLocks noChangeArrowheads="1"/>
              </p:cNvSpPr>
              <p:nvPr/>
            </p:nvSpPr>
            <p:spPr bwMode="auto">
              <a:xfrm>
                <a:off x="2091" y="1341"/>
                <a:ext cx="395" cy="4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48" name="Oval 9"/>
              <p:cNvSpPr>
                <a:spLocks noChangeArrowheads="1"/>
              </p:cNvSpPr>
              <p:nvPr/>
            </p:nvSpPr>
            <p:spPr bwMode="auto">
              <a:xfrm>
                <a:off x="1594" y="1189"/>
                <a:ext cx="305" cy="35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49" name="Freeform 10"/>
              <p:cNvSpPr>
                <a:spLocks/>
              </p:cNvSpPr>
              <p:nvPr/>
            </p:nvSpPr>
            <p:spPr bwMode="auto">
              <a:xfrm>
                <a:off x="2668" y="2270"/>
                <a:ext cx="608" cy="1287"/>
              </a:xfrm>
              <a:custGeom>
                <a:avLst/>
                <a:gdLst>
                  <a:gd name="T0" fmla="*/ 257 w 257"/>
                  <a:gd name="T1" fmla="*/ 74 h 544"/>
                  <a:gd name="T2" fmla="*/ 177 w 257"/>
                  <a:gd name="T3" fmla="*/ 0 h 544"/>
                  <a:gd name="T4" fmla="*/ 80 w 257"/>
                  <a:gd name="T5" fmla="*/ 0 h 544"/>
                  <a:gd name="T6" fmla="*/ 0 w 257"/>
                  <a:gd name="T7" fmla="*/ 74 h 544"/>
                  <a:gd name="T8" fmla="*/ 0 w 257"/>
                  <a:gd name="T9" fmla="*/ 363 h 544"/>
                  <a:gd name="T10" fmla="*/ 257 w 257"/>
                  <a:gd name="T11" fmla="*/ 470 h 544"/>
                  <a:gd name="T12" fmla="*/ 257 w 257"/>
                  <a:gd name="T13" fmla="*/ 74 h 544"/>
                </a:gdLst>
                <a:ahLst/>
                <a:cxnLst>
                  <a:cxn ang="0">
                    <a:pos x="T0" y="T1"/>
                  </a:cxn>
                  <a:cxn ang="0">
                    <a:pos x="T2" y="T3"/>
                  </a:cxn>
                  <a:cxn ang="0">
                    <a:pos x="T4" y="T5"/>
                  </a:cxn>
                  <a:cxn ang="0">
                    <a:pos x="T6" y="T7"/>
                  </a:cxn>
                  <a:cxn ang="0">
                    <a:pos x="T8" y="T9"/>
                  </a:cxn>
                  <a:cxn ang="0">
                    <a:pos x="T10" y="T11"/>
                  </a:cxn>
                  <a:cxn ang="0">
                    <a:pos x="T12" y="T13"/>
                  </a:cxn>
                </a:cxnLst>
                <a:rect l="0" t="0" r="r" b="b"/>
                <a:pathLst>
                  <a:path w="257" h="544">
                    <a:moveTo>
                      <a:pt x="257" y="74"/>
                    </a:moveTo>
                    <a:cubicBezTo>
                      <a:pt x="257" y="34"/>
                      <a:pt x="222" y="0"/>
                      <a:pt x="177" y="0"/>
                    </a:cubicBezTo>
                    <a:cubicBezTo>
                      <a:pt x="80" y="0"/>
                      <a:pt x="80" y="0"/>
                      <a:pt x="80" y="0"/>
                    </a:cubicBezTo>
                    <a:cubicBezTo>
                      <a:pt x="34" y="0"/>
                      <a:pt x="0" y="34"/>
                      <a:pt x="0" y="74"/>
                    </a:cubicBezTo>
                    <a:cubicBezTo>
                      <a:pt x="0" y="74"/>
                      <a:pt x="0" y="295"/>
                      <a:pt x="0" y="363"/>
                    </a:cubicBezTo>
                    <a:cubicBezTo>
                      <a:pt x="0" y="447"/>
                      <a:pt x="257" y="544"/>
                      <a:pt x="257" y="470"/>
                    </a:cubicBezTo>
                    <a:cubicBezTo>
                      <a:pt x="257" y="351"/>
                      <a:pt x="257" y="74"/>
                      <a:pt x="257"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50" name="Freeform 11"/>
              <p:cNvSpPr>
                <a:spLocks/>
              </p:cNvSpPr>
              <p:nvPr/>
            </p:nvSpPr>
            <p:spPr bwMode="auto">
              <a:xfrm>
                <a:off x="2060" y="1927"/>
                <a:ext cx="445" cy="1235"/>
              </a:xfrm>
              <a:custGeom>
                <a:avLst/>
                <a:gdLst>
                  <a:gd name="T0" fmla="*/ 188 w 188"/>
                  <a:gd name="T1" fmla="*/ 57 h 522"/>
                  <a:gd name="T2" fmla="*/ 131 w 188"/>
                  <a:gd name="T3" fmla="*/ 0 h 522"/>
                  <a:gd name="T4" fmla="*/ 57 w 188"/>
                  <a:gd name="T5" fmla="*/ 0 h 522"/>
                  <a:gd name="T6" fmla="*/ 0 w 188"/>
                  <a:gd name="T7" fmla="*/ 57 h 522"/>
                  <a:gd name="T8" fmla="*/ 0 w 188"/>
                  <a:gd name="T9" fmla="*/ 340 h 522"/>
                  <a:gd name="T10" fmla="*/ 188 w 188"/>
                  <a:gd name="T11" fmla="*/ 465 h 522"/>
                  <a:gd name="T12" fmla="*/ 188 w 188"/>
                  <a:gd name="T13" fmla="*/ 57 h 522"/>
                </a:gdLst>
                <a:ahLst/>
                <a:cxnLst>
                  <a:cxn ang="0">
                    <a:pos x="T0" y="T1"/>
                  </a:cxn>
                  <a:cxn ang="0">
                    <a:pos x="T2" y="T3"/>
                  </a:cxn>
                  <a:cxn ang="0">
                    <a:pos x="T4" y="T5"/>
                  </a:cxn>
                  <a:cxn ang="0">
                    <a:pos x="T6" y="T7"/>
                  </a:cxn>
                  <a:cxn ang="0">
                    <a:pos x="T8" y="T9"/>
                  </a:cxn>
                  <a:cxn ang="0">
                    <a:pos x="T10" y="T11"/>
                  </a:cxn>
                  <a:cxn ang="0">
                    <a:pos x="T12" y="T13"/>
                  </a:cxn>
                </a:cxnLst>
                <a:rect l="0" t="0" r="r" b="b"/>
                <a:pathLst>
                  <a:path w="188" h="522">
                    <a:moveTo>
                      <a:pt x="188" y="57"/>
                    </a:moveTo>
                    <a:cubicBezTo>
                      <a:pt x="188" y="28"/>
                      <a:pt x="166" y="0"/>
                      <a:pt x="131" y="0"/>
                    </a:cubicBezTo>
                    <a:cubicBezTo>
                      <a:pt x="57" y="0"/>
                      <a:pt x="57" y="0"/>
                      <a:pt x="57" y="0"/>
                    </a:cubicBezTo>
                    <a:cubicBezTo>
                      <a:pt x="23" y="0"/>
                      <a:pt x="0" y="28"/>
                      <a:pt x="0" y="57"/>
                    </a:cubicBezTo>
                    <a:cubicBezTo>
                      <a:pt x="0" y="57"/>
                      <a:pt x="0" y="272"/>
                      <a:pt x="0" y="340"/>
                    </a:cubicBezTo>
                    <a:cubicBezTo>
                      <a:pt x="0" y="397"/>
                      <a:pt x="188" y="522"/>
                      <a:pt x="188" y="465"/>
                    </a:cubicBezTo>
                    <a:cubicBezTo>
                      <a:pt x="188" y="346"/>
                      <a:pt x="188" y="57"/>
                      <a:pt x="188"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51" name="Freeform 12"/>
              <p:cNvSpPr>
                <a:spLocks/>
              </p:cNvSpPr>
              <p:nvPr/>
            </p:nvSpPr>
            <p:spPr bwMode="auto">
              <a:xfrm>
                <a:off x="1575" y="1684"/>
                <a:ext cx="324" cy="1033"/>
              </a:xfrm>
              <a:custGeom>
                <a:avLst/>
                <a:gdLst>
                  <a:gd name="T0" fmla="*/ 137 w 137"/>
                  <a:gd name="T1" fmla="*/ 40 h 437"/>
                  <a:gd name="T2" fmla="*/ 95 w 137"/>
                  <a:gd name="T3" fmla="*/ 0 h 437"/>
                  <a:gd name="T4" fmla="*/ 42 w 137"/>
                  <a:gd name="T5" fmla="*/ 0 h 437"/>
                  <a:gd name="T6" fmla="*/ 0 w 137"/>
                  <a:gd name="T7" fmla="*/ 40 h 437"/>
                  <a:gd name="T8" fmla="*/ 0 w 137"/>
                  <a:gd name="T9" fmla="*/ 312 h 437"/>
                  <a:gd name="T10" fmla="*/ 137 w 137"/>
                  <a:gd name="T11" fmla="*/ 397 h 437"/>
                  <a:gd name="T12" fmla="*/ 137 w 137"/>
                  <a:gd name="T13" fmla="*/ 40 h 437"/>
                </a:gdLst>
                <a:ahLst/>
                <a:cxnLst>
                  <a:cxn ang="0">
                    <a:pos x="T0" y="T1"/>
                  </a:cxn>
                  <a:cxn ang="0">
                    <a:pos x="T2" y="T3"/>
                  </a:cxn>
                  <a:cxn ang="0">
                    <a:pos x="T4" y="T5"/>
                  </a:cxn>
                  <a:cxn ang="0">
                    <a:pos x="T6" y="T7"/>
                  </a:cxn>
                  <a:cxn ang="0">
                    <a:pos x="T8" y="T9"/>
                  </a:cxn>
                  <a:cxn ang="0">
                    <a:pos x="T10" y="T11"/>
                  </a:cxn>
                  <a:cxn ang="0">
                    <a:pos x="T12" y="T13"/>
                  </a:cxn>
                </a:cxnLst>
                <a:rect l="0" t="0" r="r" b="b"/>
                <a:pathLst>
                  <a:path w="137" h="437">
                    <a:moveTo>
                      <a:pt x="137" y="40"/>
                    </a:moveTo>
                    <a:cubicBezTo>
                      <a:pt x="137" y="17"/>
                      <a:pt x="119" y="0"/>
                      <a:pt x="95" y="0"/>
                    </a:cubicBezTo>
                    <a:cubicBezTo>
                      <a:pt x="42" y="0"/>
                      <a:pt x="42" y="0"/>
                      <a:pt x="42" y="0"/>
                    </a:cubicBezTo>
                    <a:cubicBezTo>
                      <a:pt x="24" y="0"/>
                      <a:pt x="0" y="17"/>
                      <a:pt x="0" y="40"/>
                    </a:cubicBezTo>
                    <a:cubicBezTo>
                      <a:pt x="0" y="40"/>
                      <a:pt x="0" y="244"/>
                      <a:pt x="0" y="312"/>
                    </a:cubicBezTo>
                    <a:cubicBezTo>
                      <a:pt x="0" y="346"/>
                      <a:pt x="137" y="437"/>
                      <a:pt x="137" y="397"/>
                    </a:cubicBezTo>
                    <a:cubicBezTo>
                      <a:pt x="137" y="301"/>
                      <a:pt x="137" y="40"/>
                      <a:pt x="13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52" name="Oval 13"/>
              <p:cNvSpPr>
                <a:spLocks noChangeArrowheads="1"/>
              </p:cNvSpPr>
              <p:nvPr/>
            </p:nvSpPr>
            <p:spPr bwMode="auto">
              <a:xfrm>
                <a:off x="4610" y="1492"/>
                <a:ext cx="516" cy="6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53" name="Oval 14"/>
              <p:cNvSpPr>
                <a:spLocks noChangeArrowheads="1"/>
              </p:cNvSpPr>
              <p:nvPr/>
            </p:nvSpPr>
            <p:spPr bwMode="auto">
              <a:xfrm>
                <a:off x="5360" y="1341"/>
                <a:ext cx="395" cy="4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54" name="Oval 15"/>
              <p:cNvSpPr>
                <a:spLocks noChangeArrowheads="1"/>
              </p:cNvSpPr>
              <p:nvPr/>
            </p:nvSpPr>
            <p:spPr bwMode="auto">
              <a:xfrm>
                <a:off x="5956" y="1189"/>
                <a:ext cx="305" cy="35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55" name="Freeform 16"/>
              <p:cNvSpPr>
                <a:spLocks/>
              </p:cNvSpPr>
              <p:nvPr/>
            </p:nvSpPr>
            <p:spPr bwMode="auto">
              <a:xfrm>
                <a:off x="4570" y="2270"/>
                <a:ext cx="608" cy="1287"/>
              </a:xfrm>
              <a:custGeom>
                <a:avLst/>
                <a:gdLst>
                  <a:gd name="T0" fmla="*/ 0 w 257"/>
                  <a:gd name="T1" fmla="*/ 74 h 544"/>
                  <a:gd name="T2" fmla="*/ 80 w 257"/>
                  <a:gd name="T3" fmla="*/ 0 h 544"/>
                  <a:gd name="T4" fmla="*/ 177 w 257"/>
                  <a:gd name="T5" fmla="*/ 0 h 544"/>
                  <a:gd name="T6" fmla="*/ 257 w 257"/>
                  <a:gd name="T7" fmla="*/ 74 h 544"/>
                  <a:gd name="T8" fmla="*/ 257 w 257"/>
                  <a:gd name="T9" fmla="*/ 363 h 544"/>
                  <a:gd name="T10" fmla="*/ 0 w 257"/>
                  <a:gd name="T11" fmla="*/ 470 h 544"/>
                  <a:gd name="T12" fmla="*/ 0 w 257"/>
                  <a:gd name="T13" fmla="*/ 74 h 544"/>
                </a:gdLst>
                <a:ahLst/>
                <a:cxnLst>
                  <a:cxn ang="0">
                    <a:pos x="T0" y="T1"/>
                  </a:cxn>
                  <a:cxn ang="0">
                    <a:pos x="T2" y="T3"/>
                  </a:cxn>
                  <a:cxn ang="0">
                    <a:pos x="T4" y="T5"/>
                  </a:cxn>
                  <a:cxn ang="0">
                    <a:pos x="T6" y="T7"/>
                  </a:cxn>
                  <a:cxn ang="0">
                    <a:pos x="T8" y="T9"/>
                  </a:cxn>
                  <a:cxn ang="0">
                    <a:pos x="T10" y="T11"/>
                  </a:cxn>
                  <a:cxn ang="0">
                    <a:pos x="T12" y="T13"/>
                  </a:cxn>
                </a:cxnLst>
                <a:rect l="0" t="0" r="r" b="b"/>
                <a:pathLst>
                  <a:path w="257" h="544">
                    <a:moveTo>
                      <a:pt x="0" y="74"/>
                    </a:moveTo>
                    <a:cubicBezTo>
                      <a:pt x="0" y="34"/>
                      <a:pt x="34" y="0"/>
                      <a:pt x="80" y="0"/>
                    </a:cubicBezTo>
                    <a:cubicBezTo>
                      <a:pt x="177" y="0"/>
                      <a:pt x="177" y="0"/>
                      <a:pt x="177" y="0"/>
                    </a:cubicBezTo>
                    <a:cubicBezTo>
                      <a:pt x="223" y="0"/>
                      <a:pt x="257" y="34"/>
                      <a:pt x="257" y="74"/>
                    </a:cubicBezTo>
                    <a:cubicBezTo>
                      <a:pt x="257" y="74"/>
                      <a:pt x="257" y="295"/>
                      <a:pt x="257" y="363"/>
                    </a:cubicBezTo>
                    <a:cubicBezTo>
                      <a:pt x="257" y="447"/>
                      <a:pt x="0" y="544"/>
                      <a:pt x="0" y="470"/>
                    </a:cubicBezTo>
                    <a:cubicBezTo>
                      <a:pt x="0" y="351"/>
                      <a:pt x="0" y="74"/>
                      <a:pt x="0"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56" name="Freeform 17"/>
              <p:cNvSpPr>
                <a:spLocks/>
              </p:cNvSpPr>
              <p:nvPr/>
            </p:nvSpPr>
            <p:spPr bwMode="auto">
              <a:xfrm>
                <a:off x="5329" y="1927"/>
                <a:ext cx="445" cy="1235"/>
              </a:xfrm>
              <a:custGeom>
                <a:avLst/>
                <a:gdLst>
                  <a:gd name="T0" fmla="*/ 0 w 188"/>
                  <a:gd name="T1" fmla="*/ 57 h 522"/>
                  <a:gd name="T2" fmla="*/ 57 w 188"/>
                  <a:gd name="T3" fmla="*/ 0 h 522"/>
                  <a:gd name="T4" fmla="*/ 131 w 188"/>
                  <a:gd name="T5" fmla="*/ 0 h 522"/>
                  <a:gd name="T6" fmla="*/ 188 w 188"/>
                  <a:gd name="T7" fmla="*/ 57 h 522"/>
                  <a:gd name="T8" fmla="*/ 188 w 188"/>
                  <a:gd name="T9" fmla="*/ 340 h 522"/>
                  <a:gd name="T10" fmla="*/ 0 w 188"/>
                  <a:gd name="T11" fmla="*/ 465 h 522"/>
                  <a:gd name="T12" fmla="*/ 0 w 188"/>
                  <a:gd name="T13" fmla="*/ 57 h 522"/>
                </a:gdLst>
                <a:ahLst/>
                <a:cxnLst>
                  <a:cxn ang="0">
                    <a:pos x="T0" y="T1"/>
                  </a:cxn>
                  <a:cxn ang="0">
                    <a:pos x="T2" y="T3"/>
                  </a:cxn>
                  <a:cxn ang="0">
                    <a:pos x="T4" y="T5"/>
                  </a:cxn>
                  <a:cxn ang="0">
                    <a:pos x="T6" y="T7"/>
                  </a:cxn>
                  <a:cxn ang="0">
                    <a:pos x="T8" y="T9"/>
                  </a:cxn>
                  <a:cxn ang="0">
                    <a:pos x="T10" y="T11"/>
                  </a:cxn>
                  <a:cxn ang="0">
                    <a:pos x="T12" y="T13"/>
                  </a:cxn>
                </a:cxnLst>
                <a:rect l="0" t="0" r="r" b="b"/>
                <a:pathLst>
                  <a:path w="188" h="522">
                    <a:moveTo>
                      <a:pt x="0" y="57"/>
                    </a:moveTo>
                    <a:cubicBezTo>
                      <a:pt x="0" y="28"/>
                      <a:pt x="29" y="0"/>
                      <a:pt x="57" y="0"/>
                    </a:cubicBezTo>
                    <a:cubicBezTo>
                      <a:pt x="131" y="0"/>
                      <a:pt x="131" y="0"/>
                      <a:pt x="131" y="0"/>
                    </a:cubicBezTo>
                    <a:cubicBezTo>
                      <a:pt x="165" y="0"/>
                      <a:pt x="188" y="28"/>
                      <a:pt x="188" y="57"/>
                    </a:cubicBezTo>
                    <a:cubicBezTo>
                      <a:pt x="188" y="57"/>
                      <a:pt x="188" y="272"/>
                      <a:pt x="188" y="340"/>
                    </a:cubicBezTo>
                    <a:cubicBezTo>
                      <a:pt x="188" y="397"/>
                      <a:pt x="0" y="522"/>
                      <a:pt x="0" y="465"/>
                    </a:cubicBezTo>
                    <a:cubicBezTo>
                      <a:pt x="0" y="346"/>
                      <a:pt x="0" y="57"/>
                      <a:pt x="0"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57" name="Freeform 18"/>
              <p:cNvSpPr>
                <a:spLocks/>
              </p:cNvSpPr>
              <p:nvPr/>
            </p:nvSpPr>
            <p:spPr bwMode="auto">
              <a:xfrm>
                <a:off x="5956" y="1684"/>
                <a:ext cx="305" cy="1033"/>
              </a:xfrm>
              <a:custGeom>
                <a:avLst/>
                <a:gdLst>
                  <a:gd name="T0" fmla="*/ 0 w 129"/>
                  <a:gd name="T1" fmla="*/ 40 h 437"/>
                  <a:gd name="T2" fmla="*/ 39 w 129"/>
                  <a:gd name="T3" fmla="*/ 0 h 437"/>
                  <a:gd name="T4" fmla="*/ 90 w 129"/>
                  <a:gd name="T5" fmla="*/ 0 h 437"/>
                  <a:gd name="T6" fmla="*/ 129 w 129"/>
                  <a:gd name="T7" fmla="*/ 40 h 437"/>
                  <a:gd name="T8" fmla="*/ 129 w 129"/>
                  <a:gd name="T9" fmla="*/ 312 h 437"/>
                  <a:gd name="T10" fmla="*/ 0 w 129"/>
                  <a:gd name="T11" fmla="*/ 397 h 437"/>
                  <a:gd name="T12" fmla="*/ 0 w 129"/>
                  <a:gd name="T13" fmla="*/ 40 h 437"/>
                </a:gdLst>
                <a:ahLst/>
                <a:cxnLst>
                  <a:cxn ang="0">
                    <a:pos x="T0" y="T1"/>
                  </a:cxn>
                  <a:cxn ang="0">
                    <a:pos x="T2" y="T3"/>
                  </a:cxn>
                  <a:cxn ang="0">
                    <a:pos x="T4" y="T5"/>
                  </a:cxn>
                  <a:cxn ang="0">
                    <a:pos x="T6" y="T7"/>
                  </a:cxn>
                  <a:cxn ang="0">
                    <a:pos x="T8" y="T9"/>
                  </a:cxn>
                  <a:cxn ang="0">
                    <a:pos x="T10" y="T11"/>
                  </a:cxn>
                  <a:cxn ang="0">
                    <a:pos x="T12" y="T13"/>
                  </a:cxn>
                </a:cxnLst>
                <a:rect l="0" t="0" r="r" b="b"/>
                <a:pathLst>
                  <a:path w="129" h="437">
                    <a:moveTo>
                      <a:pt x="0" y="40"/>
                    </a:moveTo>
                    <a:cubicBezTo>
                      <a:pt x="0" y="17"/>
                      <a:pt x="17" y="0"/>
                      <a:pt x="39" y="0"/>
                    </a:cubicBezTo>
                    <a:cubicBezTo>
                      <a:pt x="90" y="0"/>
                      <a:pt x="90" y="0"/>
                      <a:pt x="90" y="0"/>
                    </a:cubicBezTo>
                    <a:cubicBezTo>
                      <a:pt x="112" y="0"/>
                      <a:pt x="129" y="17"/>
                      <a:pt x="129" y="40"/>
                    </a:cubicBezTo>
                    <a:cubicBezTo>
                      <a:pt x="129" y="40"/>
                      <a:pt x="129" y="244"/>
                      <a:pt x="129" y="312"/>
                    </a:cubicBezTo>
                    <a:cubicBezTo>
                      <a:pt x="129" y="346"/>
                      <a:pt x="0" y="437"/>
                      <a:pt x="0" y="397"/>
                    </a:cubicBezTo>
                    <a:cubicBezTo>
                      <a:pt x="0" y="301"/>
                      <a:pt x="0" y="40"/>
                      <a:pt x="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grpSp>
      </p:grpSp>
      <p:grpSp>
        <p:nvGrpSpPr>
          <p:cNvPr id="59" name="Group 58"/>
          <p:cNvGrpSpPr/>
          <p:nvPr/>
        </p:nvGrpSpPr>
        <p:grpSpPr>
          <a:xfrm>
            <a:off x="4527666" y="3560992"/>
            <a:ext cx="3136670" cy="2825753"/>
            <a:chOff x="788813" y="3631933"/>
            <a:chExt cx="3200400" cy="2883166"/>
          </a:xfrm>
        </p:grpSpPr>
        <p:sp>
          <p:nvSpPr>
            <p:cNvPr id="60" name="Rectangle 59"/>
            <p:cNvSpPr/>
            <p:nvPr/>
          </p:nvSpPr>
          <p:spPr>
            <a:xfrm>
              <a:off x="788813" y="3631933"/>
              <a:ext cx="3200400" cy="2883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79238" tIns="268857" rIns="179238" rtlCol="0" anchor="t" anchorCtr="0"/>
            <a:lstStyle/>
            <a:p>
              <a:pPr marL="112014" defTabSz="914040">
                <a:defRPr/>
              </a:pPr>
              <a:r>
                <a:rPr lang="en-US" sz="2352" kern="0" dirty="0">
                  <a:gradFill>
                    <a:gsLst>
                      <a:gs pos="5405">
                        <a:srgbClr val="505050"/>
                      </a:gs>
                      <a:gs pos="18919">
                        <a:srgbClr val="505050"/>
                      </a:gs>
                    </a:gsLst>
                    <a:lin ang="5400000" scaled="0"/>
                  </a:gradFill>
                  <a:latin typeface="Segoe UI" panose="020B0502040204020203" pitchFamily="34" charset="0"/>
                  <a:cs typeface="Segoe UI" panose="020B0502040204020203" pitchFamily="34" charset="0"/>
                </a:rPr>
                <a:t>Run your business everywhere</a:t>
              </a:r>
            </a:p>
          </p:txBody>
        </p:sp>
        <p:sp>
          <p:nvSpPr>
            <p:cNvPr id="61" name="Rectangle 60"/>
            <p:cNvSpPr/>
            <p:nvPr/>
          </p:nvSpPr>
          <p:spPr>
            <a:xfrm>
              <a:off x="788813" y="4904624"/>
              <a:ext cx="3200400" cy="1477328"/>
            </a:xfrm>
            <a:prstGeom prst="rect">
              <a:avLst/>
            </a:prstGeom>
          </p:spPr>
          <p:txBody>
            <a:bodyPr wrap="square" lIns="179238" rIns="179238">
              <a:spAutoFit/>
            </a:bodyPr>
            <a:lstStyle/>
            <a:p>
              <a:pPr marL="336044" indent="-224030" defTabSz="914040">
                <a:buFont typeface="Arial" panose="020B0604020202020204" pitchFamily="34" charset="0"/>
                <a:buChar char="•"/>
                <a:defRPr/>
              </a:pPr>
              <a:r>
                <a:rPr lang="en-US" sz="1764" kern="0" dirty="0">
                  <a:gradFill>
                    <a:gsLst>
                      <a:gs pos="97297">
                        <a:srgbClr val="505050"/>
                      </a:gs>
                      <a:gs pos="85135">
                        <a:srgbClr val="505050"/>
                      </a:gs>
                    </a:gsLst>
                    <a:lin ang="5400000" scaled="0"/>
                  </a:gradFill>
                  <a:latin typeface="Segoe UI"/>
                  <a:cs typeface="Segoe UI Light" panose="020B0502040204020203" pitchFamily="34" charset="0"/>
                </a:rPr>
                <a:t>Issue tracking across systems</a:t>
              </a:r>
            </a:p>
            <a:p>
              <a:pPr marL="336044" indent="-224030" defTabSz="914040">
                <a:buFont typeface="Arial" panose="020B0604020202020204" pitchFamily="34" charset="0"/>
                <a:buChar char="•"/>
                <a:defRPr/>
              </a:pPr>
              <a:r>
                <a:rPr lang="en-US" sz="1764" kern="0" dirty="0">
                  <a:gradFill>
                    <a:gsLst>
                      <a:gs pos="97297">
                        <a:srgbClr val="505050"/>
                      </a:gs>
                      <a:gs pos="85135">
                        <a:srgbClr val="505050"/>
                      </a:gs>
                    </a:gsLst>
                    <a:lin ang="5400000" scaled="0"/>
                  </a:gradFill>
                  <a:latin typeface="Segoe UI"/>
                  <a:cs typeface="Segoe UI Light" panose="020B0502040204020203" pitchFamily="34" charset="0"/>
                </a:rPr>
                <a:t>Breaking customer news</a:t>
              </a:r>
            </a:p>
            <a:p>
              <a:pPr marL="336044" indent="-224030" defTabSz="914040">
                <a:buFont typeface="Arial" panose="020B0604020202020204" pitchFamily="34" charset="0"/>
                <a:buChar char="•"/>
                <a:defRPr/>
              </a:pPr>
              <a:r>
                <a:rPr lang="en-US" sz="1764" kern="0" dirty="0">
                  <a:gradFill>
                    <a:gsLst>
                      <a:gs pos="97297">
                        <a:srgbClr val="505050"/>
                      </a:gs>
                      <a:gs pos="85135">
                        <a:srgbClr val="505050"/>
                      </a:gs>
                    </a:gsLst>
                    <a:lin ang="5400000" scaled="0"/>
                  </a:gradFill>
                  <a:latin typeface="Segoe UI"/>
                  <a:cs typeface="Segoe UI Light" panose="020B0502040204020203" pitchFamily="34" charset="0"/>
                </a:rPr>
                <a:t>Assisted sales experiences</a:t>
              </a:r>
            </a:p>
          </p:txBody>
        </p:sp>
        <p:cxnSp>
          <p:nvCxnSpPr>
            <p:cNvPr id="62" name="Straight Connector 61"/>
            <p:cNvCxnSpPr/>
            <p:nvPr/>
          </p:nvCxnSpPr>
          <p:spPr>
            <a:xfrm flipH="1">
              <a:off x="1072003" y="4780499"/>
              <a:ext cx="2614172" cy="11557"/>
            </a:xfrm>
            <a:prstGeom prst="line">
              <a:avLst/>
            </a:prstGeom>
            <a:ln w="28575">
              <a:solidFill>
                <a:srgbClr val="0072C6"/>
              </a:solidFill>
            </a:ln>
          </p:spPr>
          <p:style>
            <a:lnRef idx="1">
              <a:schemeClr val="accent1"/>
            </a:lnRef>
            <a:fillRef idx="0">
              <a:schemeClr val="accent1"/>
            </a:fillRef>
            <a:effectRef idx="0">
              <a:schemeClr val="accent1"/>
            </a:effectRef>
            <a:fontRef idx="minor">
              <a:schemeClr val="tx1"/>
            </a:fontRef>
          </p:style>
        </p:cxnSp>
      </p:grpSp>
      <p:grpSp>
        <p:nvGrpSpPr>
          <p:cNvPr id="84" name="Group 83"/>
          <p:cNvGrpSpPr/>
          <p:nvPr/>
        </p:nvGrpSpPr>
        <p:grpSpPr>
          <a:xfrm>
            <a:off x="4154308" y="3187630"/>
            <a:ext cx="746719" cy="746720"/>
            <a:chOff x="4138164" y="2732953"/>
            <a:chExt cx="761891" cy="761892"/>
          </a:xfrm>
        </p:grpSpPr>
        <p:sp>
          <p:nvSpPr>
            <p:cNvPr id="64" name="Oval 63"/>
            <p:cNvSpPr/>
            <p:nvPr/>
          </p:nvSpPr>
          <p:spPr bwMode="auto">
            <a:xfrm>
              <a:off x="4138164" y="2732953"/>
              <a:ext cx="761891" cy="76189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23" fontAlgn="base">
                <a:lnSpc>
                  <a:spcPct val="90000"/>
                </a:lnSpc>
                <a:spcBef>
                  <a:spcPct val="0"/>
                </a:spcBef>
                <a:spcAft>
                  <a:spcPct val="0"/>
                </a:spcAft>
                <a:defRPr/>
              </a:pPr>
              <a:endParaRPr lang="en-US" sz="2352" kern="0" dirty="0">
                <a:gradFill>
                  <a:gsLst>
                    <a:gs pos="86982">
                      <a:srgbClr val="505050"/>
                    </a:gs>
                    <a:gs pos="69822">
                      <a:srgbClr val="505050"/>
                    </a:gs>
                  </a:gsLst>
                  <a:lin ang="5400000" scaled="0"/>
                </a:gradFill>
                <a:latin typeface="Segoe UI"/>
                <a:ea typeface="Segoe UI" pitchFamily="34" charset="0"/>
                <a:cs typeface="Segoe UI" pitchFamily="34" charset="0"/>
              </a:endParaRPr>
            </a:p>
          </p:txBody>
        </p:sp>
        <p:sp>
          <p:nvSpPr>
            <p:cNvPr id="83" name="Freeform 22"/>
            <p:cNvSpPr>
              <a:spLocks noEditPoints="1"/>
            </p:cNvSpPr>
            <p:nvPr/>
          </p:nvSpPr>
          <p:spPr bwMode="auto">
            <a:xfrm rot="9900000" flipH="1" flipV="1">
              <a:off x="4312920" y="2916067"/>
              <a:ext cx="407770" cy="407770"/>
            </a:xfrm>
            <a:custGeom>
              <a:avLst/>
              <a:gdLst>
                <a:gd name="T0" fmla="*/ 1916 w 1916"/>
                <a:gd name="T1" fmla="*/ 963 h 1916"/>
                <a:gd name="T2" fmla="*/ 1629 w 1916"/>
                <a:gd name="T3" fmla="*/ 491 h 1916"/>
                <a:gd name="T4" fmla="*/ 1648 w 1916"/>
                <a:gd name="T5" fmla="*/ 759 h 1916"/>
                <a:gd name="T6" fmla="*/ 1509 w 1916"/>
                <a:gd name="T7" fmla="*/ 898 h 1916"/>
                <a:gd name="T8" fmla="*/ 1500 w 1916"/>
                <a:gd name="T9" fmla="*/ 1092 h 1916"/>
                <a:gd name="T10" fmla="*/ 1361 w 1916"/>
                <a:gd name="T11" fmla="*/ 1379 h 1916"/>
                <a:gd name="T12" fmla="*/ 1555 w 1916"/>
                <a:gd name="T13" fmla="*/ 1648 h 1916"/>
                <a:gd name="T14" fmla="*/ 1065 w 1916"/>
                <a:gd name="T15" fmla="*/ 1731 h 1916"/>
                <a:gd name="T16" fmla="*/ 833 w 1916"/>
                <a:gd name="T17" fmla="*/ 1416 h 1916"/>
                <a:gd name="T18" fmla="*/ 546 w 1916"/>
                <a:gd name="T19" fmla="*/ 1342 h 1916"/>
                <a:gd name="T20" fmla="*/ 463 w 1916"/>
                <a:gd name="T21" fmla="*/ 1305 h 1916"/>
                <a:gd name="T22" fmla="*/ 602 w 1916"/>
                <a:gd name="T23" fmla="*/ 1166 h 1916"/>
                <a:gd name="T24" fmla="*/ 731 w 1916"/>
                <a:gd name="T25" fmla="*/ 981 h 1916"/>
                <a:gd name="T26" fmla="*/ 889 w 1916"/>
                <a:gd name="T27" fmla="*/ 926 h 1916"/>
                <a:gd name="T28" fmla="*/ 917 w 1916"/>
                <a:gd name="T29" fmla="*/ 1018 h 1916"/>
                <a:gd name="T30" fmla="*/ 917 w 1916"/>
                <a:gd name="T31" fmla="*/ 1065 h 1916"/>
                <a:gd name="T32" fmla="*/ 1074 w 1916"/>
                <a:gd name="T33" fmla="*/ 1092 h 1916"/>
                <a:gd name="T34" fmla="*/ 1046 w 1916"/>
                <a:gd name="T35" fmla="*/ 944 h 1916"/>
                <a:gd name="T36" fmla="*/ 889 w 1916"/>
                <a:gd name="T37" fmla="*/ 750 h 1916"/>
                <a:gd name="T38" fmla="*/ 648 w 1916"/>
                <a:gd name="T39" fmla="*/ 583 h 1916"/>
                <a:gd name="T40" fmla="*/ 593 w 1916"/>
                <a:gd name="T41" fmla="*/ 759 h 1916"/>
                <a:gd name="T42" fmla="*/ 620 w 1916"/>
                <a:gd name="T43" fmla="*/ 565 h 1916"/>
                <a:gd name="T44" fmla="*/ 556 w 1916"/>
                <a:gd name="T45" fmla="*/ 463 h 1916"/>
                <a:gd name="T46" fmla="*/ 509 w 1916"/>
                <a:gd name="T47" fmla="*/ 361 h 1916"/>
                <a:gd name="T48" fmla="*/ 426 w 1916"/>
                <a:gd name="T49" fmla="*/ 482 h 1916"/>
                <a:gd name="T50" fmla="*/ 426 w 1916"/>
                <a:gd name="T51" fmla="*/ 333 h 1916"/>
                <a:gd name="T52" fmla="*/ 287 w 1916"/>
                <a:gd name="T53" fmla="*/ 417 h 1916"/>
                <a:gd name="T54" fmla="*/ 361 w 1916"/>
                <a:gd name="T55" fmla="*/ 500 h 1916"/>
                <a:gd name="T56" fmla="*/ 158 w 1916"/>
                <a:gd name="T57" fmla="*/ 519 h 1916"/>
                <a:gd name="T58" fmla="*/ 685 w 1916"/>
                <a:gd name="T59" fmla="*/ 213 h 1916"/>
                <a:gd name="T60" fmla="*/ 861 w 1916"/>
                <a:gd name="T61" fmla="*/ 65 h 1916"/>
                <a:gd name="T62" fmla="*/ 750 w 1916"/>
                <a:gd name="T63" fmla="*/ 158 h 1916"/>
                <a:gd name="T64" fmla="*/ 907 w 1916"/>
                <a:gd name="T65" fmla="*/ 333 h 1916"/>
                <a:gd name="T66" fmla="*/ 935 w 1916"/>
                <a:gd name="T67" fmla="*/ 398 h 1916"/>
                <a:gd name="T68" fmla="*/ 972 w 1916"/>
                <a:gd name="T69" fmla="*/ 528 h 1916"/>
                <a:gd name="T70" fmla="*/ 1185 w 1916"/>
                <a:gd name="T71" fmla="*/ 445 h 1916"/>
                <a:gd name="T72" fmla="*/ 1296 w 1916"/>
                <a:gd name="T73" fmla="*/ 259 h 1916"/>
                <a:gd name="T74" fmla="*/ 1305 w 1916"/>
                <a:gd name="T75" fmla="*/ 204 h 1916"/>
                <a:gd name="T76" fmla="*/ 1574 w 1916"/>
                <a:gd name="T77" fmla="*/ 296 h 1916"/>
                <a:gd name="T78" fmla="*/ 65 w 1916"/>
                <a:gd name="T79" fmla="*/ 787 h 1916"/>
                <a:gd name="T80" fmla="*/ 167 w 1916"/>
                <a:gd name="T81" fmla="*/ 870 h 1916"/>
                <a:gd name="T82" fmla="*/ 278 w 1916"/>
                <a:gd name="T83" fmla="*/ 1157 h 1916"/>
                <a:gd name="T84" fmla="*/ 630 w 1916"/>
                <a:gd name="T85" fmla="*/ 1564 h 1916"/>
                <a:gd name="T86" fmla="*/ 65 w 1916"/>
                <a:gd name="T87" fmla="*/ 787 h 1916"/>
                <a:gd name="T88" fmla="*/ 926 w 1916"/>
                <a:gd name="T89" fmla="*/ 917 h 1916"/>
                <a:gd name="T90" fmla="*/ 926 w 1916"/>
                <a:gd name="T91" fmla="*/ 917 h 1916"/>
                <a:gd name="T92" fmla="*/ 796 w 1916"/>
                <a:gd name="T93" fmla="*/ 861 h 1916"/>
                <a:gd name="T94" fmla="*/ 806 w 1916"/>
                <a:gd name="T95" fmla="*/ 880 h 1916"/>
                <a:gd name="T96" fmla="*/ 1222 w 1916"/>
                <a:gd name="T97" fmla="*/ 93 h 1916"/>
                <a:gd name="T98" fmla="*/ 1176 w 1916"/>
                <a:gd name="T99" fmla="*/ 74 h 1916"/>
                <a:gd name="T100" fmla="*/ 620 w 1916"/>
                <a:gd name="T101" fmla="*/ 111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16" h="1916">
                  <a:moveTo>
                    <a:pt x="954" y="0"/>
                  </a:moveTo>
                  <a:cubicBezTo>
                    <a:pt x="426" y="0"/>
                    <a:pt x="0" y="435"/>
                    <a:pt x="0" y="963"/>
                  </a:cubicBezTo>
                  <a:cubicBezTo>
                    <a:pt x="0" y="1490"/>
                    <a:pt x="426" y="1916"/>
                    <a:pt x="954" y="1916"/>
                  </a:cubicBezTo>
                  <a:cubicBezTo>
                    <a:pt x="1490" y="1916"/>
                    <a:pt x="1916" y="1490"/>
                    <a:pt x="1916" y="963"/>
                  </a:cubicBezTo>
                  <a:cubicBezTo>
                    <a:pt x="1916" y="435"/>
                    <a:pt x="1490" y="0"/>
                    <a:pt x="954" y="0"/>
                  </a:cubicBezTo>
                  <a:close/>
                  <a:moveTo>
                    <a:pt x="1685" y="463"/>
                  </a:moveTo>
                  <a:cubicBezTo>
                    <a:pt x="1676" y="463"/>
                    <a:pt x="1676" y="472"/>
                    <a:pt x="1666" y="482"/>
                  </a:cubicBezTo>
                  <a:cubicBezTo>
                    <a:pt x="1657" y="454"/>
                    <a:pt x="1639" y="472"/>
                    <a:pt x="1629" y="491"/>
                  </a:cubicBezTo>
                  <a:cubicBezTo>
                    <a:pt x="1648" y="546"/>
                    <a:pt x="1620" y="602"/>
                    <a:pt x="1583" y="630"/>
                  </a:cubicBezTo>
                  <a:cubicBezTo>
                    <a:pt x="1583" y="667"/>
                    <a:pt x="1592" y="685"/>
                    <a:pt x="1601" y="713"/>
                  </a:cubicBezTo>
                  <a:cubicBezTo>
                    <a:pt x="1620" y="713"/>
                    <a:pt x="1629" y="704"/>
                    <a:pt x="1639" y="713"/>
                  </a:cubicBezTo>
                  <a:cubicBezTo>
                    <a:pt x="1648" y="722"/>
                    <a:pt x="1666" y="741"/>
                    <a:pt x="1648" y="759"/>
                  </a:cubicBezTo>
                  <a:cubicBezTo>
                    <a:pt x="1648" y="750"/>
                    <a:pt x="1648" y="731"/>
                    <a:pt x="1639" y="722"/>
                  </a:cubicBezTo>
                  <a:cubicBezTo>
                    <a:pt x="1611" y="731"/>
                    <a:pt x="1620" y="778"/>
                    <a:pt x="1629" y="796"/>
                  </a:cubicBezTo>
                  <a:cubicBezTo>
                    <a:pt x="1592" y="806"/>
                    <a:pt x="1583" y="843"/>
                    <a:pt x="1564" y="861"/>
                  </a:cubicBezTo>
                  <a:cubicBezTo>
                    <a:pt x="1546" y="870"/>
                    <a:pt x="1518" y="870"/>
                    <a:pt x="1509" y="898"/>
                  </a:cubicBezTo>
                  <a:cubicBezTo>
                    <a:pt x="1527" y="907"/>
                    <a:pt x="1546" y="926"/>
                    <a:pt x="1546" y="963"/>
                  </a:cubicBezTo>
                  <a:cubicBezTo>
                    <a:pt x="1537" y="981"/>
                    <a:pt x="1500" y="963"/>
                    <a:pt x="1481" y="963"/>
                  </a:cubicBezTo>
                  <a:cubicBezTo>
                    <a:pt x="1453" y="972"/>
                    <a:pt x="1472" y="1046"/>
                    <a:pt x="1463" y="1065"/>
                  </a:cubicBezTo>
                  <a:cubicBezTo>
                    <a:pt x="1472" y="1074"/>
                    <a:pt x="1490" y="1074"/>
                    <a:pt x="1500" y="1092"/>
                  </a:cubicBezTo>
                  <a:cubicBezTo>
                    <a:pt x="1481" y="1120"/>
                    <a:pt x="1444" y="1129"/>
                    <a:pt x="1453" y="1176"/>
                  </a:cubicBezTo>
                  <a:cubicBezTo>
                    <a:pt x="1426" y="1194"/>
                    <a:pt x="1379" y="1222"/>
                    <a:pt x="1370" y="1268"/>
                  </a:cubicBezTo>
                  <a:cubicBezTo>
                    <a:pt x="1370" y="1287"/>
                    <a:pt x="1379" y="1305"/>
                    <a:pt x="1379" y="1324"/>
                  </a:cubicBezTo>
                  <a:cubicBezTo>
                    <a:pt x="1379" y="1352"/>
                    <a:pt x="1361" y="1361"/>
                    <a:pt x="1361" y="1379"/>
                  </a:cubicBezTo>
                  <a:cubicBezTo>
                    <a:pt x="1370" y="1407"/>
                    <a:pt x="1426" y="1453"/>
                    <a:pt x="1453" y="1463"/>
                  </a:cubicBezTo>
                  <a:cubicBezTo>
                    <a:pt x="1500" y="1444"/>
                    <a:pt x="1546" y="1416"/>
                    <a:pt x="1592" y="1435"/>
                  </a:cubicBezTo>
                  <a:cubicBezTo>
                    <a:pt x="1601" y="1453"/>
                    <a:pt x="1583" y="1453"/>
                    <a:pt x="1583" y="1472"/>
                  </a:cubicBezTo>
                  <a:cubicBezTo>
                    <a:pt x="1620" y="1546"/>
                    <a:pt x="1546" y="1574"/>
                    <a:pt x="1555" y="1648"/>
                  </a:cubicBezTo>
                  <a:cubicBezTo>
                    <a:pt x="1398" y="1787"/>
                    <a:pt x="1185" y="1870"/>
                    <a:pt x="954" y="1870"/>
                  </a:cubicBezTo>
                  <a:cubicBezTo>
                    <a:pt x="917" y="1870"/>
                    <a:pt x="870" y="1870"/>
                    <a:pt x="833" y="1861"/>
                  </a:cubicBezTo>
                  <a:cubicBezTo>
                    <a:pt x="889" y="1824"/>
                    <a:pt x="972" y="1824"/>
                    <a:pt x="1000" y="1750"/>
                  </a:cubicBezTo>
                  <a:cubicBezTo>
                    <a:pt x="1018" y="1750"/>
                    <a:pt x="1037" y="1731"/>
                    <a:pt x="1065" y="1731"/>
                  </a:cubicBezTo>
                  <a:cubicBezTo>
                    <a:pt x="1083" y="1722"/>
                    <a:pt x="1102" y="1694"/>
                    <a:pt x="1102" y="1657"/>
                  </a:cubicBezTo>
                  <a:cubicBezTo>
                    <a:pt x="1120" y="1629"/>
                    <a:pt x="1157" y="1629"/>
                    <a:pt x="1157" y="1583"/>
                  </a:cubicBezTo>
                  <a:cubicBezTo>
                    <a:pt x="1111" y="1555"/>
                    <a:pt x="1037" y="1546"/>
                    <a:pt x="981" y="1527"/>
                  </a:cubicBezTo>
                  <a:cubicBezTo>
                    <a:pt x="972" y="1444"/>
                    <a:pt x="861" y="1472"/>
                    <a:pt x="833" y="1416"/>
                  </a:cubicBezTo>
                  <a:cubicBezTo>
                    <a:pt x="787" y="1426"/>
                    <a:pt x="759" y="1398"/>
                    <a:pt x="722" y="1389"/>
                  </a:cubicBezTo>
                  <a:cubicBezTo>
                    <a:pt x="704" y="1398"/>
                    <a:pt x="685" y="1416"/>
                    <a:pt x="657" y="1426"/>
                  </a:cubicBezTo>
                  <a:cubicBezTo>
                    <a:pt x="648" y="1407"/>
                    <a:pt x="602" y="1426"/>
                    <a:pt x="593" y="1407"/>
                  </a:cubicBezTo>
                  <a:cubicBezTo>
                    <a:pt x="611" y="1352"/>
                    <a:pt x="583" y="1342"/>
                    <a:pt x="546" y="1342"/>
                  </a:cubicBezTo>
                  <a:cubicBezTo>
                    <a:pt x="537" y="1315"/>
                    <a:pt x="546" y="1305"/>
                    <a:pt x="546" y="1287"/>
                  </a:cubicBezTo>
                  <a:cubicBezTo>
                    <a:pt x="546" y="1278"/>
                    <a:pt x="528" y="1278"/>
                    <a:pt x="519" y="1278"/>
                  </a:cubicBezTo>
                  <a:cubicBezTo>
                    <a:pt x="500" y="1287"/>
                    <a:pt x="500" y="1305"/>
                    <a:pt x="491" y="1305"/>
                  </a:cubicBezTo>
                  <a:cubicBezTo>
                    <a:pt x="482" y="1305"/>
                    <a:pt x="472" y="1305"/>
                    <a:pt x="463" y="1305"/>
                  </a:cubicBezTo>
                  <a:cubicBezTo>
                    <a:pt x="435" y="1296"/>
                    <a:pt x="417" y="1194"/>
                    <a:pt x="463" y="1176"/>
                  </a:cubicBezTo>
                  <a:cubicBezTo>
                    <a:pt x="509" y="1194"/>
                    <a:pt x="519" y="1166"/>
                    <a:pt x="574" y="1176"/>
                  </a:cubicBezTo>
                  <a:cubicBezTo>
                    <a:pt x="593" y="1194"/>
                    <a:pt x="583" y="1241"/>
                    <a:pt x="620" y="1241"/>
                  </a:cubicBezTo>
                  <a:cubicBezTo>
                    <a:pt x="639" y="1213"/>
                    <a:pt x="602" y="1185"/>
                    <a:pt x="602" y="1166"/>
                  </a:cubicBezTo>
                  <a:cubicBezTo>
                    <a:pt x="611" y="1139"/>
                    <a:pt x="648" y="1139"/>
                    <a:pt x="657" y="1111"/>
                  </a:cubicBezTo>
                  <a:cubicBezTo>
                    <a:pt x="685" y="1083"/>
                    <a:pt x="676" y="1055"/>
                    <a:pt x="685" y="1028"/>
                  </a:cubicBezTo>
                  <a:cubicBezTo>
                    <a:pt x="704" y="1018"/>
                    <a:pt x="713" y="1009"/>
                    <a:pt x="731" y="1009"/>
                  </a:cubicBezTo>
                  <a:cubicBezTo>
                    <a:pt x="731" y="1000"/>
                    <a:pt x="731" y="991"/>
                    <a:pt x="731" y="981"/>
                  </a:cubicBezTo>
                  <a:cubicBezTo>
                    <a:pt x="741" y="963"/>
                    <a:pt x="768" y="954"/>
                    <a:pt x="778" y="944"/>
                  </a:cubicBezTo>
                  <a:cubicBezTo>
                    <a:pt x="806" y="954"/>
                    <a:pt x="768" y="963"/>
                    <a:pt x="778" y="972"/>
                  </a:cubicBezTo>
                  <a:cubicBezTo>
                    <a:pt x="815" y="963"/>
                    <a:pt x="852" y="954"/>
                    <a:pt x="861" y="926"/>
                  </a:cubicBezTo>
                  <a:cubicBezTo>
                    <a:pt x="870" y="926"/>
                    <a:pt x="880" y="926"/>
                    <a:pt x="889" y="926"/>
                  </a:cubicBezTo>
                  <a:cubicBezTo>
                    <a:pt x="898" y="935"/>
                    <a:pt x="898" y="935"/>
                    <a:pt x="898" y="944"/>
                  </a:cubicBezTo>
                  <a:cubicBezTo>
                    <a:pt x="898" y="944"/>
                    <a:pt x="898" y="944"/>
                    <a:pt x="898" y="944"/>
                  </a:cubicBezTo>
                  <a:cubicBezTo>
                    <a:pt x="889" y="944"/>
                    <a:pt x="880" y="944"/>
                    <a:pt x="889" y="954"/>
                  </a:cubicBezTo>
                  <a:cubicBezTo>
                    <a:pt x="898" y="972"/>
                    <a:pt x="907" y="1000"/>
                    <a:pt x="917" y="1018"/>
                  </a:cubicBezTo>
                  <a:cubicBezTo>
                    <a:pt x="926" y="1018"/>
                    <a:pt x="935" y="1009"/>
                    <a:pt x="935" y="1009"/>
                  </a:cubicBezTo>
                  <a:cubicBezTo>
                    <a:pt x="935" y="1018"/>
                    <a:pt x="935" y="1028"/>
                    <a:pt x="935" y="1037"/>
                  </a:cubicBezTo>
                  <a:cubicBezTo>
                    <a:pt x="926" y="1037"/>
                    <a:pt x="926" y="1037"/>
                    <a:pt x="917" y="1037"/>
                  </a:cubicBezTo>
                  <a:cubicBezTo>
                    <a:pt x="917" y="1046"/>
                    <a:pt x="917" y="1055"/>
                    <a:pt x="917" y="1065"/>
                  </a:cubicBezTo>
                  <a:cubicBezTo>
                    <a:pt x="935" y="1074"/>
                    <a:pt x="954" y="1065"/>
                    <a:pt x="963" y="1055"/>
                  </a:cubicBezTo>
                  <a:cubicBezTo>
                    <a:pt x="981" y="1083"/>
                    <a:pt x="1018" y="1120"/>
                    <a:pt x="1055" y="1120"/>
                  </a:cubicBezTo>
                  <a:cubicBezTo>
                    <a:pt x="1065" y="1102"/>
                    <a:pt x="1028" y="1092"/>
                    <a:pt x="1037" y="1083"/>
                  </a:cubicBezTo>
                  <a:cubicBezTo>
                    <a:pt x="1055" y="1083"/>
                    <a:pt x="1055" y="1092"/>
                    <a:pt x="1074" y="1092"/>
                  </a:cubicBezTo>
                  <a:cubicBezTo>
                    <a:pt x="1102" y="1046"/>
                    <a:pt x="1028" y="1046"/>
                    <a:pt x="1046" y="1009"/>
                  </a:cubicBezTo>
                  <a:cubicBezTo>
                    <a:pt x="1065" y="1009"/>
                    <a:pt x="1065" y="1046"/>
                    <a:pt x="1083" y="1037"/>
                  </a:cubicBezTo>
                  <a:cubicBezTo>
                    <a:pt x="1102" y="1028"/>
                    <a:pt x="1111" y="1009"/>
                    <a:pt x="1111" y="991"/>
                  </a:cubicBezTo>
                  <a:cubicBezTo>
                    <a:pt x="1083" y="981"/>
                    <a:pt x="1074" y="954"/>
                    <a:pt x="1046" y="944"/>
                  </a:cubicBezTo>
                  <a:cubicBezTo>
                    <a:pt x="1065" y="944"/>
                    <a:pt x="1055" y="926"/>
                    <a:pt x="1055" y="907"/>
                  </a:cubicBezTo>
                  <a:cubicBezTo>
                    <a:pt x="1028" y="870"/>
                    <a:pt x="963" y="870"/>
                    <a:pt x="954" y="806"/>
                  </a:cubicBezTo>
                  <a:cubicBezTo>
                    <a:pt x="944" y="806"/>
                    <a:pt x="926" y="806"/>
                    <a:pt x="917" y="806"/>
                  </a:cubicBezTo>
                  <a:cubicBezTo>
                    <a:pt x="907" y="787"/>
                    <a:pt x="898" y="769"/>
                    <a:pt x="889" y="750"/>
                  </a:cubicBezTo>
                  <a:cubicBezTo>
                    <a:pt x="815" y="750"/>
                    <a:pt x="852" y="657"/>
                    <a:pt x="796" y="630"/>
                  </a:cubicBezTo>
                  <a:cubicBezTo>
                    <a:pt x="787" y="648"/>
                    <a:pt x="787" y="667"/>
                    <a:pt x="778" y="676"/>
                  </a:cubicBezTo>
                  <a:cubicBezTo>
                    <a:pt x="759" y="676"/>
                    <a:pt x="759" y="667"/>
                    <a:pt x="741" y="667"/>
                  </a:cubicBezTo>
                  <a:cubicBezTo>
                    <a:pt x="768" y="620"/>
                    <a:pt x="713" y="574"/>
                    <a:pt x="648" y="583"/>
                  </a:cubicBezTo>
                  <a:cubicBezTo>
                    <a:pt x="648" y="620"/>
                    <a:pt x="657" y="657"/>
                    <a:pt x="639" y="667"/>
                  </a:cubicBezTo>
                  <a:cubicBezTo>
                    <a:pt x="657" y="704"/>
                    <a:pt x="657" y="750"/>
                    <a:pt x="620" y="769"/>
                  </a:cubicBezTo>
                  <a:cubicBezTo>
                    <a:pt x="620" y="787"/>
                    <a:pt x="639" y="806"/>
                    <a:pt x="630" y="824"/>
                  </a:cubicBezTo>
                  <a:cubicBezTo>
                    <a:pt x="602" y="833"/>
                    <a:pt x="593" y="796"/>
                    <a:pt x="593" y="759"/>
                  </a:cubicBezTo>
                  <a:cubicBezTo>
                    <a:pt x="556" y="741"/>
                    <a:pt x="491" y="722"/>
                    <a:pt x="463" y="676"/>
                  </a:cubicBezTo>
                  <a:cubicBezTo>
                    <a:pt x="463" y="602"/>
                    <a:pt x="528" y="583"/>
                    <a:pt x="556" y="537"/>
                  </a:cubicBezTo>
                  <a:cubicBezTo>
                    <a:pt x="565" y="528"/>
                    <a:pt x="556" y="556"/>
                    <a:pt x="546" y="565"/>
                  </a:cubicBezTo>
                  <a:cubicBezTo>
                    <a:pt x="565" y="593"/>
                    <a:pt x="602" y="556"/>
                    <a:pt x="620" y="565"/>
                  </a:cubicBezTo>
                  <a:cubicBezTo>
                    <a:pt x="602" y="528"/>
                    <a:pt x="583" y="491"/>
                    <a:pt x="630" y="472"/>
                  </a:cubicBezTo>
                  <a:cubicBezTo>
                    <a:pt x="620" y="463"/>
                    <a:pt x="620" y="426"/>
                    <a:pt x="630" y="417"/>
                  </a:cubicBezTo>
                  <a:cubicBezTo>
                    <a:pt x="620" y="408"/>
                    <a:pt x="602" y="408"/>
                    <a:pt x="593" y="408"/>
                  </a:cubicBezTo>
                  <a:cubicBezTo>
                    <a:pt x="574" y="426"/>
                    <a:pt x="574" y="454"/>
                    <a:pt x="556" y="463"/>
                  </a:cubicBezTo>
                  <a:cubicBezTo>
                    <a:pt x="556" y="445"/>
                    <a:pt x="565" y="435"/>
                    <a:pt x="556" y="426"/>
                  </a:cubicBezTo>
                  <a:cubicBezTo>
                    <a:pt x="546" y="435"/>
                    <a:pt x="546" y="435"/>
                    <a:pt x="546" y="426"/>
                  </a:cubicBezTo>
                  <a:cubicBezTo>
                    <a:pt x="537" y="426"/>
                    <a:pt x="537" y="435"/>
                    <a:pt x="537" y="445"/>
                  </a:cubicBezTo>
                  <a:cubicBezTo>
                    <a:pt x="509" y="417"/>
                    <a:pt x="528" y="389"/>
                    <a:pt x="509" y="361"/>
                  </a:cubicBezTo>
                  <a:cubicBezTo>
                    <a:pt x="509" y="371"/>
                    <a:pt x="500" y="371"/>
                    <a:pt x="500" y="361"/>
                  </a:cubicBezTo>
                  <a:cubicBezTo>
                    <a:pt x="482" y="361"/>
                    <a:pt x="463" y="417"/>
                    <a:pt x="491" y="426"/>
                  </a:cubicBezTo>
                  <a:cubicBezTo>
                    <a:pt x="482" y="435"/>
                    <a:pt x="463" y="426"/>
                    <a:pt x="463" y="426"/>
                  </a:cubicBezTo>
                  <a:cubicBezTo>
                    <a:pt x="445" y="435"/>
                    <a:pt x="445" y="463"/>
                    <a:pt x="426" y="482"/>
                  </a:cubicBezTo>
                  <a:cubicBezTo>
                    <a:pt x="417" y="482"/>
                    <a:pt x="398" y="472"/>
                    <a:pt x="398" y="472"/>
                  </a:cubicBezTo>
                  <a:cubicBezTo>
                    <a:pt x="417" y="463"/>
                    <a:pt x="426" y="445"/>
                    <a:pt x="435" y="417"/>
                  </a:cubicBezTo>
                  <a:cubicBezTo>
                    <a:pt x="435" y="408"/>
                    <a:pt x="417" y="408"/>
                    <a:pt x="408" y="398"/>
                  </a:cubicBezTo>
                  <a:cubicBezTo>
                    <a:pt x="408" y="361"/>
                    <a:pt x="426" y="361"/>
                    <a:pt x="426" y="333"/>
                  </a:cubicBezTo>
                  <a:cubicBezTo>
                    <a:pt x="398" y="324"/>
                    <a:pt x="389" y="352"/>
                    <a:pt x="389" y="380"/>
                  </a:cubicBezTo>
                  <a:cubicBezTo>
                    <a:pt x="361" y="389"/>
                    <a:pt x="352" y="352"/>
                    <a:pt x="333" y="352"/>
                  </a:cubicBezTo>
                  <a:cubicBezTo>
                    <a:pt x="287" y="343"/>
                    <a:pt x="269" y="389"/>
                    <a:pt x="259" y="435"/>
                  </a:cubicBezTo>
                  <a:cubicBezTo>
                    <a:pt x="278" y="435"/>
                    <a:pt x="287" y="426"/>
                    <a:pt x="287" y="417"/>
                  </a:cubicBezTo>
                  <a:cubicBezTo>
                    <a:pt x="306" y="435"/>
                    <a:pt x="306" y="445"/>
                    <a:pt x="333" y="435"/>
                  </a:cubicBezTo>
                  <a:cubicBezTo>
                    <a:pt x="333" y="445"/>
                    <a:pt x="296" y="435"/>
                    <a:pt x="296" y="454"/>
                  </a:cubicBezTo>
                  <a:cubicBezTo>
                    <a:pt x="315" y="472"/>
                    <a:pt x="333" y="491"/>
                    <a:pt x="352" y="482"/>
                  </a:cubicBezTo>
                  <a:cubicBezTo>
                    <a:pt x="352" y="482"/>
                    <a:pt x="361" y="491"/>
                    <a:pt x="361" y="500"/>
                  </a:cubicBezTo>
                  <a:cubicBezTo>
                    <a:pt x="343" y="491"/>
                    <a:pt x="324" y="491"/>
                    <a:pt x="306" y="500"/>
                  </a:cubicBezTo>
                  <a:cubicBezTo>
                    <a:pt x="306" y="491"/>
                    <a:pt x="315" y="491"/>
                    <a:pt x="315" y="482"/>
                  </a:cubicBezTo>
                  <a:cubicBezTo>
                    <a:pt x="269" y="463"/>
                    <a:pt x="195" y="472"/>
                    <a:pt x="185" y="519"/>
                  </a:cubicBezTo>
                  <a:cubicBezTo>
                    <a:pt x="176" y="519"/>
                    <a:pt x="167" y="519"/>
                    <a:pt x="158" y="519"/>
                  </a:cubicBezTo>
                  <a:cubicBezTo>
                    <a:pt x="250" y="352"/>
                    <a:pt x="398" y="213"/>
                    <a:pt x="574" y="139"/>
                  </a:cubicBezTo>
                  <a:cubicBezTo>
                    <a:pt x="556" y="158"/>
                    <a:pt x="556" y="185"/>
                    <a:pt x="593" y="185"/>
                  </a:cubicBezTo>
                  <a:cubicBezTo>
                    <a:pt x="602" y="204"/>
                    <a:pt x="583" y="204"/>
                    <a:pt x="583" y="213"/>
                  </a:cubicBezTo>
                  <a:cubicBezTo>
                    <a:pt x="611" y="241"/>
                    <a:pt x="657" y="213"/>
                    <a:pt x="685" y="213"/>
                  </a:cubicBezTo>
                  <a:cubicBezTo>
                    <a:pt x="694" y="204"/>
                    <a:pt x="685" y="195"/>
                    <a:pt x="694" y="176"/>
                  </a:cubicBezTo>
                  <a:cubicBezTo>
                    <a:pt x="722" y="167"/>
                    <a:pt x="731" y="139"/>
                    <a:pt x="750" y="121"/>
                  </a:cubicBezTo>
                  <a:cubicBezTo>
                    <a:pt x="768" y="102"/>
                    <a:pt x="806" y="102"/>
                    <a:pt x="815" y="65"/>
                  </a:cubicBezTo>
                  <a:cubicBezTo>
                    <a:pt x="833" y="65"/>
                    <a:pt x="843" y="56"/>
                    <a:pt x="861" y="65"/>
                  </a:cubicBezTo>
                  <a:cubicBezTo>
                    <a:pt x="852" y="74"/>
                    <a:pt x="824" y="74"/>
                    <a:pt x="815" y="93"/>
                  </a:cubicBezTo>
                  <a:cubicBezTo>
                    <a:pt x="806" y="102"/>
                    <a:pt x="824" y="93"/>
                    <a:pt x="824" y="102"/>
                  </a:cubicBezTo>
                  <a:cubicBezTo>
                    <a:pt x="815" y="121"/>
                    <a:pt x="768" y="121"/>
                    <a:pt x="750" y="139"/>
                  </a:cubicBezTo>
                  <a:cubicBezTo>
                    <a:pt x="750" y="148"/>
                    <a:pt x="750" y="148"/>
                    <a:pt x="750" y="158"/>
                  </a:cubicBezTo>
                  <a:cubicBezTo>
                    <a:pt x="759" y="176"/>
                    <a:pt x="806" y="148"/>
                    <a:pt x="815" y="167"/>
                  </a:cubicBezTo>
                  <a:cubicBezTo>
                    <a:pt x="787" y="176"/>
                    <a:pt x="768" y="158"/>
                    <a:pt x="759" y="176"/>
                  </a:cubicBezTo>
                  <a:cubicBezTo>
                    <a:pt x="759" y="195"/>
                    <a:pt x="778" y="185"/>
                    <a:pt x="778" y="213"/>
                  </a:cubicBezTo>
                  <a:cubicBezTo>
                    <a:pt x="880" y="176"/>
                    <a:pt x="935" y="269"/>
                    <a:pt x="907" y="333"/>
                  </a:cubicBezTo>
                  <a:cubicBezTo>
                    <a:pt x="926" y="352"/>
                    <a:pt x="935" y="333"/>
                    <a:pt x="954" y="333"/>
                  </a:cubicBezTo>
                  <a:cubicBezTo>
                    <a:pt x="954" y="343"/>
                    <a:pt x="954" y="352"/>
                    <a:pt x="963" y="352"/>
                  </a:cubicBezTo>
                  <a:cubicBezTo>
                    <a:pt x="963" y="361"/>
                    <a:pt x="935" y="343"/>
                    <a:pt x="926" y="361"/>
                  </a:cubicBezTo>
                  <a:cubicBezTo>
                    <a:pt x="926" y="380"/>
                    <a:pt x="926" y="389"/>
                    <a:pt x="935" y="398"/>
                  </a:cubicBezTo>
                  <a:cubicBezTo>
                    <a:pt x="963" y="408"/>
                    <a:pt x="963" y="389"/>
                    <a:pt x="972" y="389"/>
                  </a:cubicBezTo>
                  <a:cubicBezTo>
                    <a:pt x="972" y="417"/>
                    <a:pt x="944" y="408"/>
                    <a:pt x="935" y="426"/>
                  </a:cubicBezTo>
                  <a:cubicBezTo>
                    <a:pt x="926" y="472"/>
                    <a:pt x="954" y="491"/>
                    <a:pt x="954" y="528"/>
                  </a:cubicBezTo>
                  <a:cubicBezTo>
                    <a:pt x="963" y="537"/>
                    <a:pt x="963" y="528"/>
                    <a:pt x="972" y="528"/>
                  </a:cubicBezTo>
                  <a:cubicBezTo>
                    <a:pt x="954" y="583"/>
                    <a:pt x="1018" y="630"/>
                    <a:pt x="1055" y="639"/>
                  </a:cubicBezTo>
                  <a:cubicBezTo>
                    <a:pt x="1092" y="630"/>
                    <a:pt x="1074" y="574"/>
                    <a:pt x="1092" y="556"/>
                  </a:cubicBezTo>
                  <a:cubicBezTo>
                    <a:pt x="1092" y="528"/>
                    <a:pt x="1102" y="519"/>
                    <a:pt x="1111" y="500"/>
                  </a:cubicBezTo>
                  <a:cubicBezTo>
                    <a:pt x="1148" y="500"/>
                    <a:pt x="1176" y="482"/>
                    <a:pt x="1185" y="445"/>
                  </a:cubicBezTo>
                  <a:cubicBezTo>
                    <a:pt x="1231" y="435"/>
                    <a:pt x="1296" y="426"/>
                    <a:pt x="1305" y="389"/>
                  </a:cubicBezTo>
                  <a:cubicBezTo>
                    <a:pt x="1305" y="361"/>
                    <a:pt x="1278" y="343"/>
                    <a:pt x="1287" y="306"/>
                  </a:cubicBezTo>
                  <a:cubicBezTo>
                    <a:pt x="1296" y="306"/>
                    <a:pt x="1296" y="287"/>
                    <a:pt x="1305" y="278"/>
                  </a:cubicBezTo>
                  <a:cubicBezTo>
                    <a:pt x="1305" y="269"/>
                    <a:pt x="1305" y="269"/>
                    <a:pt x="1296" y="259"/>
                  </a:cubicBezTo>
                  <a:cubicBezTo>
                    <a:pt x="1305" y="250"/>
                    <a:pt x="1305" y="278"/>
                    <a:pt x="1315" y="269"/>
                  </a:cubicBezTo>
                  <a:cubicBezTo>
                    <a:pt x="1324" y="259"/>
                    <a:pt x="1324" y="259"/>
                    <a:pt x="1324" y="259"/>
                  </a:cubicBezTo>
                  <a:cubicBezTo>
                    <a:pt x="1315" y="241"/>
                    <a:pt x="1287" y="232"/>
                    <a:pt x="1278" y="213"/>
                  </a:cubicBezTo>
                  <a:cubicBezTo>
                    <a:pt x="1278" y="204"/>
                    <a:pt x="1296" y="213"/>
                    <a:pt x="1305" y="204"/>
                  </a:cubicBezTo>
                  <a:cubicBezTo>
                    <a:pt x="1296" y="185"/>
                    <a:pt x="1278" y="185"/>
                    <a:pt x="1268" y="167"/>
                  </a:cubicBezTo>
                  <a:cubicBezTo>
                    <a:pt x="1259" y="139"/>
                    <a:pt x="1287" y="130"/>
                    <a:pt x="1287" y="111"/>
                  </a:cubicBezTo>
                  <a:cubicBezTo>
                    <a:pt x="1370" y="139"/>
                    <a:pt x="1444" y="185"/>
                    <a:pt x="1509" y="232"/>
                  </a:cubicBezTo>
                  <a:cubicBezTo>
                    <a:pt x="1527" y="259"/>
                    <a:pt x="1555" y="278"/>
                    <a:pt x="1574" y="296"/>
                  </a:cubicBezTo>
                  <a:cubicBezTo>
                    <a:pt x="1574" y="287"/>
                    <a:pt x="1574" y="287"/>
                    <a:pt x="1574" y="287"/>
                  </a:cubicBezTo>
                  <a:cubicBezTo>
                    <a:pt x="1657" y="361"/>
                    <a:pt x="1722" y="454"/>
                    <a:pt x="1777" y="556"/>
                  </a:cubicBezTo>
                  <a:cubicBezTo>
                    <a:pt x="1750" y="519"/>
                    <a:pt x="1731" y="482"/>
                    <a:pt x="1685" y="463"/>
                  </a:cubicBezTo>
                  <a:close/>
                  <a:moveTo>
                    <a:pt x="65" y="787"/>
                  </a:moveTo>
                  <a:cubicBezTo>
                    <a:pt x="74" y="759"/>
                    <a:pt x="74" y="722"/>
                    <a:pt x="111" y="713"/>
                  </a:cubicBezTo>
                  <a:cubicBezTo>
                    <a:pt x="130" y="741"/>
                    <a:pt x="121" y="787"/>
                    <a:pt x="148" y="796"/>
                  </a:cubicBezTo>
                  <a:cubicBezTo>
                    <a:pt x="148" y="815"/>
                    <a:pt x="158" y="824"/>
                    <a:pt x="167" y="843"/>
                  </a:cubicBezTo>
                  <a:cubicBezTo>
                    <a:pt x="167" y="852"/>
                    <a:pt x="167" y="861"/>
                    <a:pt x="167" y="870"/>
                  </a:cubicBezTo>
                  <a:cubicBezTo>
                    <a:pt x="176" y="889"/>
                    <a:pt x="185" y="917"/>
                    <a:pt x="195" y="926"/>
                  </a:cubicBezTo>
                  <a:cubicBezTo>
                    <a:pt x="158" y="1018"/>
                    <a:pt x="213" y="1065"/>
                    <a:pt x="241" y="1120"/>
                  </a:cubicBezTo>
                  <a:cubicBezTo>
                    <a:pt x="269" y="1166"/>
                    <a:pt x="278" y="1241"/>
                    <a:pt x="324" y="1250"/>
                  </a:cubicBezTo>
                  <a:cubicBezTo>
                    <a:pt x="324" y="1213"/>
                    <a:pt x="287" y="1185"/>
                    <a:pt x="278" y="1157"/>
                  </a:cubicBezTo>
                  <a:cubicBezTo>
                    <a:pt x="343" y="1204"/>
                    <a:pt x="352" y="1342"/>
                    <a:pt x="472" y="1342"/>
                  </a:cubicBezTo>
                  <a:cubicBezTo>
                    <a:pt x="491" y="1361"/>
                    <a:pt x="528" y="1370"/>
                    <a:pt x="546" y="1389"/>
                  </a:cubicBezTo>
                  <a:cubicBezTo>
                    <a:pt x="565" y="1426"/>
                    <a:pt x="602" y="1444"/>
                    <a:pt x="648" y="1444"/>
                  </a:cubicBezTo>
                  <a:cubicBezTo>
                    <a:pt x="676" y="1490"/>
                    <a:pt x="620" y="1509"/>
                    <a:pt x="630" y="1564"/>
                  </a:cubicBezTo>
                  <a:cubicBezTo>
                    <a:pt x="639" y="1611"/>
                    <a:pt x="722" y="1676"/>
                    <a:pt x="759" y="1694"/>
                  </a:cubicBezTo>
                  <a:cubicBezTo>
                    <a:pt x="768" y="1768"/>
                    <a:pt x="750" y="1814"/>
                    <a:pt x="759" y="1851"/>
                  </a:cubicBezTo>
                  <a:cubicBezTo>
                    <a:pt x="352" y="1759"/>
                    <a:pt x="47" y="1398"/>
                    <a:pt x="47" y="963"/>
                  </a:cubicBezTo>
                  <a:cubicBezTo>
                    <a:pt x="47" y="898"/>
                    <a:pt x="47" y="843"/>
                    <a:pt x="65" y="787"/>
                  </a:cubicBezTo>
                  <a:close/>
                  <a:moveTo>
                    <a:pt x="741" y="889"/>
                  </a:moveTo>
                  <a:cubicBezTo>
                    <a:pt x="750" y="889"/>
                    <a:pt x="731" y="907"/>
                    <a:pt x="731" y="907"/>
                  </a:cubicBezTo>
                  <a:cubicBezTo>
                    <a:pt x="722" y="907"/>
                    <a:pt x="741" y="898"/>
                    <a:pt x="741" y="889"/>
                  </a:cubicBezTo>
                  <a:close/>
                  <a:moveTo>
                    <a:pt x="926" y="917"/>
                  </a:moveTo>
                  <a:cubicBezTo>
                    <a:pt x="926" y="917"/>
                    <a:pt x="926" y="917"/>
                    <a:pt x="926" y="926"/>
                  </a:cubicBezTo>
                  <a:cubicBezTo>
                    <a:pt x="926" y="926"/>
                    <a:pt x="926" y="926"/>
                    <a:pt x="917" y="926"/>
                  </a:cubicBezTo>
                  <a:cubicBezTo>
                    <a:pt x="917" y="917"/>
                    <a:pt x="917" y="917"/>
                    <a:pt x="917" y="917"/>
                  </a:cubicBezTo>
                  <a:cubicBezTo>
                    <a:pt x="917" y="917"/>
                    <a:pt x="917" y="917"/>
                    <a:pt x="926" y="917"/>
                  </a:cubicBezTo>
                  <a:close/>
                  <a:moveTo>
                    <a:pt x="824" y="898"/>
                  </a:moveTo>
                  <a:cubicBezTo>
                    <a:pt x="824" y="898"/>
                    <a:pt x="815" y="898"/>
                    <a:pt x="815" y="907"/>
                  </a:cubicBezTo>
                  <a:cubicBezTo>
                    <a:pt x="806" y="907"/>
                    <a:pt x="806" y="907"/>
                    <a:pt x="806" y="907"/>
                  </a:cubicBezTo>
                  <a:cubicBezTo>
                    <a:pt x="796" y="889"/>
                    <a:pt x="815" y="870"/>
                    <a:pt x="796" y="861"/>
                  </a:cubicBezTo>
                  <a:cubicBezTo>
                    <a:pt x="768" y="861"/>
                    <a:pt x="768" y="880"/>
                    <a:pt x="741" y="889"/>
                  </a:cubicBezTo>
                  <a:cubicBezTo>
                    <a:pt x="750" y="861"/>
                    <a:pt x="778" y="861"/>
                    <a:pt x="796" y="852"/>
                  </a:cubicBezTo>
                  <a:cubicBezTo>
                    <a:pt x="796" y="861"/>
                    <a:pt x="806" y="861"/>
                    <a:pt x="806" y="870"/>
                  </a:cubicBezTo>
                  <a:cubicBezTo>
                    <a:pt x="806" y="880"/>
                    <a:pt x="806" y="880"/>
                    <a:pt x="806" y="880"/>
                  </a:cubicBezTo>
                  <a:cubicBezTo>
                    <a:pt x="806" y="889"/>
                    <a:pt x="824" y="880"/>
                    <a:pt x="824" y="898"/>
                  </a:cubicBezTo>
                  <a:close/>
                  <a:moveTo>
                    <a:pt x="1213" y="84"/>
                  </a:moveTo>
                  <a:cubicBezTo>
                    <a:pt x="1222" y="84"/>
                    <a:pt x="1222" y="84"/>
                    <a:pt x="1222" y="84"/>
                  </a:cubicBezTo>
                  <a:cubicBezTo>
                    <a:pt x="1222" y="93"/>
                    <a:pt x="1222" y="93"/>
                    <a:pt x="1222" y="93"/>
                  </a:cubicBezTo>
                  <a:cubicBezTo>
                    <a:pt x="1213" y="93"/>
                    <a:pt x="1213" y="84"/>
                    <a:pt x="1213" y="84"/>
                  </a:cubicBezTo>
                  <a:close/>
                  <a:moveTo>
                    <a:pt x="1185" y="74"/>
                  </a:moveTo>
                  <a:cubicBezTo>
                    <a:pt x="1185" y="74"/>
                    <a:pt x="1185" y="74"/>
                    <a:pt x="1185" y="74"/>
                  </a:cubicBezTo>
                  <a:cubicBezTo>
                    <a:pt x="1185" y="74"/>
                    <a:pt x="1185" y="74"/>
                    <a:pt x="1176" y="74"/>
                  </a:cubicBezTo>
                  <a:cubicBezTo>
                    <a:pt x="1185" y="74"/>
                    <a:pt x="1185" y="74"/>
                    <a:pt x="1185" y="74"/>
                  </a:cubicBezTo>
                  <a:close/>
                  <a:moveTo>
                    <a:pt x="630" y="111"/>
                  </a:moveTo>
                  <a:cubicBezTo>
                    <a:pt x="630" y="111"/>
                    <a:pt x="630" y="111"/>
                    <a:pt x="630" y="111"/>
                  </a:cubicBezTo>
                  <a:cubicBezTo>
                    <a:pt x="620" y="111"/>
                    <a:pt x="620" y="111"/>
                    <a:pt x="620" y="111"/>
                  </a:cubicBezTo>
                  <a:cubicBezTo>
                    <a:pt x="620" y="111"/>
                    <a:pt x="620" y="111"/>
                    <a:pt x="630" y="1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grpSp>
      <p:grpSp>
        <p:nvGrpSpPr>
          <p:cNvPr id="85" name="Group 84"/>
          <p:cNvGrpSpPr/>
          <p:nvPr/>
        </p:nvGrpSpPr>
        <p:grpSpPr>
          <a:xfrm>
            <a:off x="8280639" y="3560992"/>
            <a:ext cx="3136670" cy="2825753"/>
            <a:chOff x="788813" y="3631933"/>
            <a:chExt cx="3200400" cy="2883166"/>
          </a:xfrm>
        </p:grpSpPr>
        <p:sp>
          <p:nvSpPr>
            <p:cNvPr id="86" name="Rectangle 85"/>
            <p:cNvSpPr/>
            <p:nvPr/>
          </p:nvSpPr>
          <p:spPr>
            <a:xfrm>
              <a:off x="788813" y="3631933"/>
              <a:ext cx="3200400" cy="2883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79238" tIns="268857" rIns="179238" rtlCol="0" anchor="t" anchorCtr="0"/>
            <a:lstStyle/>
            <a:p>
              <a:pPr marL="112014" defTabSz="914040">
                <a:defRPr/>
              </a:pPr>
              <a:r>
                <a:rPr lang="en-US" sz="2352" kern="0" dirty="0">
                  <a:gradFill>
                    <a:gsLst>
                      <a:gs pos="5405">
                        <a:srgbClr val="505050"/>
                      </a:gs>
                      <a:gs pos="18919">
                        <a:srgbClr val="505050"/>
                      </a:gs>
                    </a:gsLst>
                    <a:lin ang="5400000" scaled="0"/>
                  </a:gradFill>
                  <a:latin typeface="Segoe UI" panose="020B0502040204020203" pitchFamily="34" charset="0"/>
                  <a:cs typeface="Segoe UI" panose="020B0502040204020203" pitchFamily="34" charset="0"/>
                </a:rPr>
                <a:t>Mobilize mission-critical systems</a:t>
              </a:r>
            </a:p>
          </p:txBody>
        </p:sp>
        <p:sp>
          <p:nvSpPr>
            <p:cNvPr id="87" name="Rectangle 86"/>
            <p:cNvSpPr/>
            <p:nvPr/>
          </p:nvSpPr>
          <p:spPr>
            <a:xfrm>
              <a:off x="788813" y="4904624"/>
              <a:ext cx="3200400" cy="1200329"/>
            </a:xfrm>
            <a:prstGeom prst="rect">
              <a:avLst/>
            </a:prstGeom>
          </p:spPr>
          <p:txBody>
            <a:bodyPr wrap="square" lIns="179238" rIns="179238">
              <a:spAutoFit/>
            </a:bodyPr>
            <a:lstStyle/>
            <a:p>
              <a:pPr marL="336044" indent="-224030" defTabSz="914040">
                <a:buFont typeface="Arial" panose="020B0604020202020204" pitchFamily="34" charset="0"/>
                <a:buChar char="•"/>
                <a:defRPr/>
              </a:pPr>
              <a:r>
                <a:rPr lang="en-US" sz="1764" kern="0" dirty="0">
                  <a:gradFill>
                    <a:gsLst>
                      <a:gs pos="97297">
                        <a:srgbClr val="505050"/>
                      </a:gs>
                      <a:gs pos="85135">
                        <a:srgbClr val="505050"/>
                      </a:gs>
                    </a:gsLst>
                    <a:lin ang="5400000" scaled="0"/>
                  </a:gradFill>
                  <a:latin typeface="Segoe UI"/>
                  <a:cs typeface="Segoe UI Light" panose="020B0502040204020203" pitchFamily="34" charset="0"/>
                </a:rPr>
                <a:t>SharePoint apps</a:t>
              </a:r>
            </a:p>
            <a:p>
              <a:pPr marL="336044" indent="-224030" defTabSz="914040">
                <a:buFont typeface="Arial" panose="020B0604020202020204" pitchFamily="34" charset="0"/>
                <a:buChar char="•"/>
                <a:defRPr/>
              </a:pPr>
              <a:r>
                <a:rPr lang="en-US" sz="1764" kern="0" dirty="0">
                  <a:gradFill>
                    <a:gsLst>
                      <a:gs pos="97297">
                        <a:srgbClr val="505050"/>
                      </a:gs>
                      <a:gs pos="85135">
                        <a:srgbClr val="505050"/>
                      </a:gs>
                    </a:gsLst>
                    <a:lin ang="5400000" scaled="0"/>
                  </a:gradFill>
                  <a:latin typeface="Segoe UI"/>
                  <a:cs typeface="Segoe UI Light" panose="020B0502040204020203" pitchFamily="34" charset="0"/>
                </a:rPr>
                <a:t>Time and expense tracking</a:t>
              </a:r>
            </a:p>
            <a:p>
              <a:pPr marL="336044" indent="-224030" defTabSz="914040">
                <a:buFont typeface="Arial" panose="020B0604020202020204" pitchFamily="34" charset="0"/>
                <a:buChar char="•"/>
                <a:defRPr/>
              </a:pPr>
              <a:r>
                <a:rPr lang="en-US" sz="1764" kern="0" dirty="0">
                  <a:gradFill>
                    <a:gsLst>
                      <a:gs pos="97297">
                        <a:srgbClr val="505050"/>
                      </a:gs>
                      <a:gs pos="85135">
                        <a:srgbClr val="505050"/>
                      </a:gs>
                    </a:gsLst>
                    <a:lin ang="5400000" scaled="0"/>
                  </a:gradFill>
                  <a:latin typeface="Segoe UI"/>
                  <a:cs typeface="Segoe UI Light" panose="020B0502040204020203" pitchFamily="34" charset="0"/>
                </a:rPr>
                <a:t>ERP and CRM systems</a:t>
              </a:r>
            </a:p>
          </p:txBody>
        </p:sp>
        <p:cxnSp>
          <p:nvCxnSpPr>
            <p:cNvPr id="88" name="Straight Connector 87"/>
            <p:cNvCxnSpPr/>
            <p:nvPr/>
          </p:nvCxnSpPr>
          <p:spPr>
            <a:xfrm flipH="1">
              <a:off x="1072003" y="4780499"/>
              <a:ext cx="2614172" cy="11557"/>
            </a:xfrm>
            <a:prstGeom prst="line">
              <a:avLst/>
            </a:prstGeom>
            <a:ln w="28575">
              <a:solidFill>
                <a:srgbClr val="0072C6"/>
              </a:solidFill>
            </a:ln>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7907280" y="3187630"/>
            <a:ext cx="746719" cy="746720"/>
            <a:chOff x="7912547" y="2732953"/>
            <a:chExt cx="761891" cy="761892"/>
          </a:xfrm>
        </p:grpSpPr>
        <p:sp>
          <p:nvSpPr>
            <p:cNvPr id="90" name="Oval 89"/>
            <p:cNvSpPr/>
            <p:nvPr/>
          </p:nvSpPr>
          <p:spPr bwMode="auto">
            <a:xfrm>
              <a:off x="7912547" y="2732953"/>
              <a:ext cx="761891" cy="76189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23" fontAlgn="base">
                <a:lnSpc>
                  <a:spcPct val="90000"/>
                </a:lnSpc>
                <a:spcBef>
                  <a:spcPct val="0"/>
                </a:spcBef>
                <a:spcAft>
                  <a:spcPct val="0"/>
                </a:spcAft>
                <a:defRPr/>
              </a:pPr>
              <a:endParaRPr lang="en-US" sz="2352" kern="0" dirty="0">
                <a:gradFill>
                  <a:gsLst>
                    <a:gs pos="86982">
                      <a:srgbClr val="505050"/>
                    </a:gs>
                    <a:gs pos="69822">
                      <a:srgbClr val="505050"/>
                    </a:gs>
                  </a:gsLst>
                  <a:lin ang="5400000" scaled="0"/>
                </a:gradFill>
                <a:latin typeface="Segoe UI"/>
                <a:ea typeface="Segoe UI" pitchFamily="34" charset="0"/>
                <a:cs typeface="Segoe UI" pitchFamily="34" charset="0"/>
              </a:endParaRPr>
            </a:p>
          </p:txBody>
        </p:sp>
        <p:grpSp>
          <p:nvGrpSpPr>
            <p:cNvPr id="93" name="Group 25"/>
            <p:cNvGrpSpPr>
              <a:grpSpLocks noChangeAspect="1"/>
            </p:cNvGrpSpPr>
            <p:nvPr/>
          </p:nvGrpSpPr>
          <p:grpSpPr bwMode="auto">
            <a:xfrm>
              <a:off x="8180765" y="2935993"/>
              <a:ext cx="234574" cy="355812"/>
              <a:chOff x="3828" y="2068"/>
              <a:chExt cx="178" cy="270"/>
            </a:xfrm>
          </p:grpSpPr>
          <p:sp>
            <p:nvSpPr>
              <p:cNvPr id="95" name="Rectangle 26"/>
              <p:cNvSpPr>
                <a:spLocks noChangeArrowheads="1"/>
              </p:cNvSpPr>
              <p:nvPr/>
            </p:nvSpPr>
            <p:spPr bwMode="auto">
              <a:xfrm>
                <a:off x="3828" y="2280"/>
                <a:ext cx="69" cy="58"/>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96" name="Rectangle 27"/>
              <p:cNvSpPr>
                <a:spLocks noChangeArrowheads="1"/>
              </p:cNvSpPr>
              <p:nvPr/>
            </p:nvSpPr>
            <p:spPr bwMode="auto">
              <a:xfrm>
                <a:off x="3828" y="2174"/>
                <a:ext cx="178" cy="68"/>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97" name="Rectangle 28"/>
              <p:cNvSpPr>
                <a:spLocks noChangeArrowheads="1"/>
              </p:cNvSpPr>
              <p:nvPr/>
            </p:nvSpPr>
            <p:spPr bwMode="auto">
              <a:xfrm>
                <a:off x="3828" y="2068"/>
                <a:ext cx="69" cy="67"/>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98" name="Rectangle 29"/>
              <p:cNvSpPr>
                <a:spLocks noChangeArrowheads="1"/>
              </p:cNvSpPr>
              <p:nvPr/>
            </p:nvSpPr>
            <p:spPr bwMode="auto">
              <a:xfrm>
                <a:off x="3937" y="2068"/>
                <a:ext cx="69" cy="67"/>
              </a:xfrm>
              <a:prstGeom prst="rect">
                <a:avLst/>
              </a:prstGeom>
              <a:solidFill>
                <a:schemeClr val="bg1"/>
              </a:solidFill>
              <a:ln w="19050" cap="flat">
                <a:solidFill>
                  <a:schemeClr val="bg1"/>
                </a:solidFill>
                <a:prstDash val="solid"/>
                <a:miter lim="800000"/>
                <a:headEnd/>
                <a:tailEnd/>
              </a:ln>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grpSp>
      </p:grpSp>
    </p:spTree>
    <p:extLst>
      <p:ext uri="{BB962C8B-B14F-4D97-AF65-F5344CB8AC3E}">
        <p14:creationId xmlns:p14="http://schemas.microsoft.com/office/powerpoint/2010/main" val="95092031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ppt_x"/>
                                          </p:val>
                                        </p:tav>
                                        <p:tav tm="100000">
                                          <p:val>
                                            <p:strVal val="#ppt_x"/>
                                          </p:val>
                                        </p:tav>
                                      </p:tavLst>
                                    </p:anim>
                                    <p:anim calcmode="lin" valueType="num">
                                      <p:cBhvr additive="base">
                                        <p:cTn id="8" dur="500" fill="hold"/>
                                        <p:tgtEl>
                                          <p:spTgt spid="27"/>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53" presetClass="entr" presetSubtype="16" fill="hold" nodeType="afterEffect">
                                  <p:stCondLst>
                                    <p:cond delay="0"/>
                                  </p:stCondLst>
                                  <p:childTnLst>
                                    <p:set>
                                      <p:cBhvr>
                                        <p:cTn id="11" dur="1" fill="hold">
                                          <p:stCondLst>
                                            <p:cond delay="0"/>
                                          </p:stCondLst>
                                        </p:cTn>
                                        <p:tgtEl>
                                          <p:spTgt spid="58"/>
                                        </p:tgtEl>
                                        <p:attrNameLst>
                                          <p:attrName>style.visibility</p:attrName>
                                        </p:attrNameLst>
                                      </p:cBhvr>
                                      <p:to>
                                        <p:strVal val="visible"/>
                                      </p:to>
                                    </p:set>
                                    <p:anim calcmode="lin" valueType="num">
                                      <p:cBhvr>
                                        <p:cTn id="12" dur="250" fill="hold"/>
                                        <p:tgtEl>
                                          <p:spTgt spid="58"/>
                                        </p:tgtEl>
                                        <p:attrNameLst>
                                          <p:attrName>ppt_w</p:attrName>
                                        </p:attrNameLst>
                                      </p:cBhvr>
                                      <p:tavLst>
                                        <p:tav tm="0">
                                          <p:val>
                                            <p:fltVal val="0"/>
                                          </p:val>
                                        </p:tav>
                                        <p:tav tm="100000">
                                          <p:val>
                                            <p:strVal val="#ppt_w"/>
                                          </p:val>
                                        </p:tav>
                                      </p:tavLst>
                                    </p:anim>
                                    <p:anim calcmode="lin" valueType="num">
                                      <p:cBhvr>
                                        <p:cTn id="13" dur="250" fill="hold"/>
                                        <p:tgtEl>
                                          <p:spTgt spid="58"/>
                                        </p:tgtEl>
                                        <p:attrNameLst>
                                          <p:attrName>ppt_h</p:attrName>
                                        </p:attrNameLst>
                                      </p:cBhvr>
                                      <p:tavLst>
                                        <p:tav tm="0">
                                          <p:val>
                                            <p:fltVal val="0"/>
                                          </p:val>
                                        </p:tav>
                                        <p:tav tm="100000">
                                          <p:val>
                                            <p:strVal val="#ppt_h"/>
                                          </p:val>
                                        </p:tav>
                                      </p:tavLst>
                                    </p:anim>
                                    <p:animEffect transition="in" filter="fade">
                                      <p:cBhvr>
                                        <p:cTn id="14" dur="250"/>
                                        <p:tgtEl>
                                          <p:spTgt spid="58"/>
                                        </p:tgtEl>
                                      </p:cBhvr>
                                    </p:animEffect>
                                  </p:childTnLst>
                                </p:cTn>
                              </p:par>
                            </p:childTnLst>
                          </p:cTn>
                        </p:par>
                        <p:par>
                          <p:cTn id="15" fill="hold">
                            <p:stCondLst>
                              <p:cond delay="750"/>
                            </p:stCondLst>
                            <p:childTnLst>
                              <p:par>
                                <p:cTn id="16" presetID="2" presetClass="entr" presetSubtype="4" decel="100000" fill="hold" nodeType="afterEffect">
                                  <p:stCondLst>
                                    <p:cond delay="0"/>
                                  </p:stCondLst>
                                  <p:childTnLst>
                                    <p:set>
                                      <p:cBhvr>
                                        <p:cTn id="17" dur="1" fill="hold">
                                          <p:stCondLst>
                                            <p:cond delay="0"/>
                                          </p:stCondLst>
                                        </p:cTn>
                                        <p:tgtEl>
                                          <p:spTgt spid="59"/>
                                        </p:tgtEl>
                                        <p:attrNameLst>
                                          <p:attrName>style.visibility</p:attrName>
                                        </p:attrNameLst>
                                      </p:cBhvr>
                                      <p:to>
                                        <p:strVal val="visible"/>
                                      </p:to>
                                    </p:set>
                                    <p:anim calcmode="lin" valueType="num">
                                      <p:cBhvr additive="base">
                                        <p:cTn id="18" dur="500" fill="hold"/>
                                        <p:tgtEl>
                                          <p:spTgt spid="59"/>
                                        </p:tgtEl>
                                        <p:attrNameLst>
                                          <p:attrName>ppt_x</p:attrName>
                                        </p:attrNameLst>
                                      </p:cBhvr>
                                      <p:tavLst>
                                        <p:tav tm="0">
                                          <p:val>
                                            <p:strVal val="#ppt_x"/>
                                          </p:val>
                                        </p:tav>
                                        <p:tav tm="100000">
                                          <p:val>
                                            <p:strVal val="#ppt_x"/>
                                          </p:val>
                                        </p:tav>
                                      </p:tavLst>
                                    </p:anim>
                                    <p:anim calcmode="lin" valueType="num">
                                      <p:cBhvr additive="base">
                                        <p:cTn id="19" dur="500" fill="hold"/>
                                        <p:tgtEl>
                                          <p:spTgt spid="59"/>
                                        </p:tgtEl>
                                        <p:attrNameLst>
                                          <p:attrName>ppt_y</p:attrName>
                                        </p:attrNameLst>
                                      </p:cBhvr>
                                      <p:tavLst>
                                        <p:tav tm="0">
                                          <p:val>
                                            <p:strVal val="1+#ppt_h/2"/>
                                          </p:val>
                                        </p:tav>
                                        <p:tav tm="100000">
                                          <p:val>
                                            <p:strVal val="#ppt_y"/>
                                          </p:val>
                                        </p:tav>
                                      </p:tavLst>
                                    </p:anim>
                                  </p:childTnLst>
                                </p:cTn>
                              </p:par>
                            </p:childTnLst>
                          </p:cTn>
                        </p:par>
                        <p:par>
                          <p:cTn id="20" fill="hold">
                            <p:stCondLst>
                              <p:cond delay="1250"/>
                            </p:stCondLst>
                            <p:childTnLst>
                              <p:par>
                                <p:cTn id="21" presetID="53" presetClass="entr" presetSubtype="16" fill="hold" nodeType="afterEffect">
                                  <p:stCondLst>
                                    <p:cond delay="0"/>
                                  </p:stCondLst>
                                  <p:childTnLst>
                                    <p:set>
                                      <p:cBhvr>
                                        <p:cTn id="22" dur="1" fill="hold">
                                          <p:stCondLst>
                                            <p:cond delay="0"/>
                                          </p:stCondLst>
                                        </p:cTn>
                                        <p:tgtEl>
                                          <p:spTgt spid="84"/>
                                        </p:tgtEl>
                                        <p:attrNameLst>
                                          <p:attrName>style.visibility</p:attrName>
                                        </p:attrNameLst>
                                      </p:cBhvr>
                                      <p:to>
                                        <p:strVal val="visible"/>
                                      </p:to>
                                    </p:set>
                                    <p:anim calcmode="lin" valueType="num">
                                      <p:cBhvr>
                                        <p:cTn id="23" dur="250" fill="hold"/>
                                        <p:tgtEl>
                                          <p:spTgt spid="84"/>
                                        </p:tgtEl>
                                        <p:attrNameLst>
                                          <p:attrName>ppt_w</p:attrName>
                                        </p:attrNameLst>
                                      </p:cBhvr>
                                      <p:tavLst>
                                        <p:tav tm="0">
                                          <p:val>
                                            <p:fltVal val="0"/>
                                          </p:val>
                                        </p:tav>
                                        <p:tav tm="100000">
                                          <p:val>
                                            <p:strVal val="#ppt_w"/>
                                          </p:val>
                                        </p:tav>
                                      </p:tavLst>
                                    </p:anim>
                                    <p:anim calcmode="lin" valueType="num">
                                      <p:cBhvr>
                                        <p:cTn id="24" dur="250" fill="hold"/>
                                        <p:tgtEl>
                                          <p:spTgt spid="84"/>
                                        </p:tgtEl>
                                        <p:attrNameLst>
                                          <p:attrName>ppt_h</p:attrName>
                                        </p:attrNameLst>
                                      </p:cBhvr>
                                      <p:tavLst>
                                        <p:tav tm="0">
                                          <p:val>
                                            <p:fltVal val="0"/>
                                          </p:val>
                                        </p:tav>
                                        <p:tav tm="100000">
                                          <p:val>
                                            <p:strVal val="#ppt_h"/>
                                          </p:val>
                                        </p:tav>
                                      </p:tavLst>
                                    </p:anim>
                                    <p:animEffect transition="in" filter="fade">
                                      <p:cBhvr>
                                        <p:cTn id="25" dur="250"/>
                                        <p:tgtEl>
                                          <p:spTgt spid="84"/>
                                        </p:tgtEl>
                                      </p:cBhvr>
                                    </p:animEffect>
                                  </p:childTnLst>
                                </p:cTn>
                              </p:par>
                            </p:childTnLst>
                          </p:cTn>
                        </p:par>
                        <p:par>
                          <p:cTn id="26" fill="hold">
                            <p:stCondLst>
                              <p:cond delay="1500"/>
                            </p:stCondLst>
                            <p:childTnLst>
                              <p:par>
                                <p:cTn id="27" presetID="2" presetClass="entr" presetSubtype="4" decel="100000" fill="hold" nodeType="afterEffect">
                                  <p:stCondLst>
                                    <p:cond delay="0"/>
                                  </p:stCondLst>
                                  <p:childTnLst>
                                    <p:set>
                                      <p:cBhvr>
                                        <p:cTn id="28" dur="1" fill="hold">
                                          <p:stCondLst>
                                            <p:cond delay="0"/>
                                          </p:stCondLst>
                                        </p:cTn>
                                        <p:tgtEl>
                                          <p:spTgt spid="85"/>
                                        </p:tgtEl>
                                        <p:attrNameLst>
                                          <p:attrName>style.visibility</p:attrName>
                                        </p:attrNameLst>
                                      </p:cBhvr>
                                      <p:to>
                                        <p:strVal val="visible"/>
                                      </p:to>
                                    </p:set>
                                    <p:anim calcmode="lin" valueType="num">
                                      <p:cBhvr additive="base">
                                        <p:cTn id="29" dur="500" fill="hold"/>
                                        <p:tgtEl>
                                          <p:spTgt spid="85"/>
                                        </p:tgtEl>
                                        <p:attrNameLst>
                                          <p:attrName>ppt_x</p:attrName>
                                        </p:attrNameLst>
                                      </p:cBhvr>
                                      <p:tavLst>
                                        <p:tav tm="0">
                                          <p:val>
                                            <p:strVal val="#ppt_x"/>
                                          </p:val>
                                        </p:tav>
                                        <p:tav tm="100000">
                                          <p:val>
                                            <p:strVal val="#ppt_x"/>
                                          </p:val>
                                        </p:tav>
                                      </p:tavLst>
                                    </p:anim>
                                    <p:anim calcmode="lin" valueType="num">
                                      <p:cBhvr additive="base">
                                        <p:cTn id="30" dur="500" fill="hold"/>
                                        <p:tgtEl>
                                          <p:spTgt spid="85"/>
                                        </p:tgtEl>
                                        <p:attrNameLst>
                                          <p:attrName>ppt_y</p:attrName>
                                        </p:attrNameLst>
                                      </p:cBhvr>
                                      <p:tavLst>
                                        <p:tav tm="0">
                                          <p:val>
                                            <p:strVal val="1+#ppt_h/2"/>
                                          </p:val>
                                        </p:tav>
                                        <p:tav tm="100000">
                                          <p:val>
                                            <p:strVal val="#ppt_y"/>
                                          </p:val>
                                        </p:tav>
                                      </p:tavLst>
                                    </p:anim>
                                  </p:childTnLst>
                                </p:cTn>
                              </p:par>
                            </p:childTnLst>
                          </p:cTn>
                        </p:par>
                        <p:par>
                          <p:cTn id="31" fill="hold">
                            <p:stCondLst>
                              <p:cond delay="2000"/>
                            </p:stCondLst>
                            <p:childTnLst>
                              <p:par>
                                <p:cTn id="32" presetID="53" presetClass="entr" presetSubtype="16" fill="hold" nodeType="afterEffect">
                                  <p:stCondLst>
                                    <p:cond delay="0"/>
                                  </p:stCondLst>
                                  <p:childTnLst>
                                    <p:set>
                                      <p:cBhvr>
                                        <p:cTn id="33" dur="1" fill="hold">
                                          <p:stCondLst>
                                            <p:cond delay="0"/>
                                          </p:stCondLst>
                                        </p:cTn>
                                        <p:tgtEl>
                                          <p:spTgt spid="99"/>
                                        </p:tgtEl>
                                        <p:attrNameLst>
                                          <p:attrName>style.visibility</p:attrName>
                                        </p:attrNameLst>
                                      </p:cBhvr>
                                      <p:to>
                                        <p:strVal val="visible"/>
                                      </p:to>
                                    </p:set>
                                    <p:anim calcmode="lin" valueType="num">
                                      <p:cBhvr>
                                        <p:cTn id="34" dur="250" fill="hold"/>
                                        <p:tgtEl>
                                          <p:spTgt spid="99"/>
                                        </p:tgtEl>
                                        <p:attrNameLst>
                                          <p:attrName>ppt_w</p:attrName>
                                        </p:attrNameLst>
                                      </p:cBhvr>
                                      <p:tavLst>
                                        <p:tav tm="0">
                                          <p:val>
                                            <p:fltVal val="0"/>
                                          </p:val>
                                        </p:tav>
                                        <p:tav tm="100000">
                                          <p:val>
                                            <p:strVal val="#ppt_w"/>
                                          </p:val>
                                        </p:tav>
                                      </p:tavLst>
                                    </p:anim>
                                    <p:anim calcmode="lin" valueType="num">
                                      <p:cBhvr>
                                        <p:cTn id="35" dur="250" fill="hold"/>
                                        <p:tgtEl>
                                          <p:spTgt spid="99"/>
                                        </p:tgtEl>
                                        <p:attrNameLst>
                                          <p:attrName>ppt_h</p:attrName>
                                        </p:attrNameLst>
                                      </p:cBhvr>
                                      <p:tavLst>
                                        <p:tav tm="0">
                                          <p:val>
                                            <p:fltVal val="0"/>
                                          </p:val>
                                        </p:tav>
                                        <p:tav tm="100000">
                                          <p:val>
                                            <p:strVal val="#ppt_h"/>
                                          </p:val>
                                        </p:tav>
                                      </p:tavLst>
                                    </p:anim>
                                    <p:animEffect transition="in" filter="fade">
                                      <p:cBhvr>
                                        <p:cTn id="36" dur="250"/>
                                        <p:tgtEl>
                                          <p:spTgt spid="99"/>
                                        </p:tgtEl>
                                      </p:cBhvr>
                                    </p:animEffect>
                                  </p:childTnLst>
                                </p:cTn>
                              </p:par>
                            </p:childTnLst>
                          </p:cTn>
                        </p:par>
                        <p:par>
                          <p:cTn id="37" fill="hold">
                            <p:stCondLst>
                              <p:cond delay="2250"/>
                            </p:stCondLst>
                            <p:childTnLst>
                              <p:par>
                                <p:cTn id="38" presetID="42" presetClass="entr" presetSubtype="0" fill="hold" nodeType="after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anim calcmode="lin" valueType="num">
                                      <p:cBhvr>
                                        <p:cTn id="41" dur="500" fill="hold"/>
                                        <p:tgtEl>
                                          <p:spTgt spid="23"/>
                                        </p:tgtEl>
                                        <p:attrNameLst>
                                          <p:attrName>ppt_x</p:attrName>
                                        </p:attrNameLst>
                                      </p:cBhvr>
                                      <p:tavLst>
                                        <p:tav tm="0">
                                          <p:val>
                                            <p:strVal val="#ppt_x"/>
                                          </p:val>
                                        </p:tav>
                                        <p:tav tm="100000">
                                          <p:val>
                                            <p:strVal val="#ppt_x"/>
                                          </p:val>
                                        </p:tav>
                                      </p:tavLst>
                                    </p:anim>
                                    <p:anim calcmode="lin" valueType="num">
                                      <p:cBhvr>
                                        <p:cTn id="42" dur="500" fill="hold"/>
                                        <p:tgtEl>
                                          <p:spTgt spid="23"/>
                                        </p:tgtEl>
                                        <p:attrNameLst>
                                          <p:attrName>ppt_y</p:attrName>
                                        </p:attrNameLst>
                                      </p:cBhvr>
                                      <p:tavLst>
                                        <p:tav tm="0">
                                          <p:val>
                                            <p:strVal val="#ppt_y+.1"/>
                                          </p:val>
                                        </p:tav>
                                        <p:tav tm="100000">
                                          <p:val>
                                            <p:strVal val="#ppt_y"/>
                                          </p:val>
                                        </p:tav>
                                      </p:tavLst>
                                    </p:anim>
                                  </p:childTnLst>
                                </p:cTn>
                              </p:par>
                            </p:childTnLst>
                          </p:cTn>
                        </p:par>
                        <p:par>
                          <p:cTn id="43" fill="hold">
                            <p:stCondLst>
                              <p:cond delay="2750"/>
                            </p:stCondLst>
                            <p:childTnLst>
                              <p:par>
                                <p:cTn id="44" presetID="42" presetClass="entr" presetSubtype="0" fill="hold" nodeType="afterEffect">
                                  <p:stCondLst>
                                    <p:cond delay="0"/>
                                  </p:stCondLst>
                                  <p:childTnLst>
                                    <p:set>
                                      <p:cBhvr>
                                        <p:cTn id="45" dur="1" fill="hold">
                                          <p:stCondLst>
                                            <p:cond delay="0"/>
                                          </p:stCondLst>
                                        </p:cTn>
                                        <p:tgtEl>
                                          <p:spTgt spid="24"/>
                                        </p:tgtEl>
                                        <p:attrNameLst>
                                          <p:attrName>style.visibility</p:attrName>
                                        </p:attrNameLst>
                                      </p:cBhvr>
                                      <p:to>
                                        <p:strVal val="visible"/>
                                      </p:to>
                                    </p:set>
                                    <p:animEffect transition="in" filter="fade">
                                      <p:cBhvr>
                                        <p:cTn id="46" dur="500"/>
                                        <p:tgtEl>
                                          <p:spTgt spid="24"/>
                                        </p:tgtEl>
                                      </p:cBhvr>
                                    </p:animEffect>
                                    <p:anim calcmode="lin" valueType="num">
                                      <p:cBhvr>
                                        <p:cTn id="47" dur="500" fill="hold"/>
                                        <p:tgtEl>
                                          <p:spTgt spid="24"/>
                                        </p:tgtEl>
                                        <p:attrNameLst>
                                          <p:attrName>ppt_x</p:attrName>
                                        </p:attrNameLst>
                                      </p:cBhvr>
                                      <p:tavLst>
                                        <p:tav tm="0">
                                          <p:val>
                                            <p:strVal val="#ppt_x"/>
                                          </p:val>
                                        </p:tav>
                                        <p:tav tm="100000">
                                          <p:val>
                                            <p:strVal val="#ppt_x"/>
                                          </p:val>
                                        </p:tav>
                                      </p:tavLst>
                                    </p:anim>
                                    <p:anim calcmode="lin" valueType="num">
                                      <p:cBhvr>
                                        <p:cTn id="48" dur="500" fill="hold"/>
                                        <p:tgtEl>
                                          <p:spTgt spid="24"/>
                                        </p:tgtEl>
                                        <p:attrNameLst>
                                          <p:attrName>ppt_y</p:attrName>
                                        </p:attrNameLst>
                                      </p:cBhvr>
                                      <p:tavLst>
                                        <p:tav tm="0">
                                          <p:val>
                                            <p:strVal val="#ppt_y+.1"/>
                                          </p:val>
                                        </p:tav>
                                        <p:tav tm="100000">
                                          <p:val>
                                            <p:strVal val="#ppt_y"/>
                                          </p:val>
                                        </p:tav>
                                      </p:tavLst>
                                    </p:anim>
                                  </p:childTnLst>
                                </p:cTn>
                              </p:par>
                            </p:childTnLst>
                          </p:cTn>
                        </p:par>
                        <p:par>
                          <p:cTn id="49" fill="hold">
                            <p:stCondLst>
                              <p:cond delay="3250"/>
                            </p:stCondLst>
                            <p:childTnLst>
                              <p:par>
                                <p:cTn id="50" presetID="42" presetClass="entr" presetSubtype="0" fill="hold" nodeType="afterEffect">
                                  <p:stCondLst>
                                    <p:cond delay="0"/>
                                  </p:stCondLst>
                                  <p:childTnLst>
                                    <p:set>
                                      <p:cBhvr>
                                        <p:cTn id="51" dur="1" fill="hold">
                                          <p:stCondLst>
                                            <p:cond delay="0"/>
                                          </p:stCondLst>
                                        </p:cTn>
                                        <p:tgtEl>
                                          <p:spTgt spid="25"/>
                                        </p:tgtEl>
                                        <p:attrNameLst>
                                          <p:attrName>style.visibility</p:attrName>
                                        </p:attrNameLst>
                                      </p:cBhvr>
                                      <p:to>
                                        <p:strVal val="visible"/>
                                      </p:to>
                                    </p:set>
                                    <p:animEffect transition="in" filter="fade">
                                      <p:cBhvr>
                                        <p:cTn id="52" dur="500"/>
                                        <p:tgtEl>
                                          <p:spTgt spid="25"/>
                                        </p:tgtEl>
                                      </p:cBhvr>
                                    </p:animEffect>
                                    <p:anim calcmode="lin" valueType="num">
                                      <p:cBhvr>
                                        <p:cTn id="53" dur="500" fill="hold"/>
                                        <p:tgtEl>
                                          <p:spTgt spid="25"/>
                                        </p:tgtEl>
                                        <p:attrNameLst>
                                          <p:attrName>ppt_x</p:attrName>
                                        </p:attrNameLst>
                                      </p:cBhvr>
                                      <p:tavLst>
                                        <p:tav tm="0">
                                          <p:val>
                                            <p:strVal val="#ppt_x"/>
                                          </p:val>
                                        </p:tav>
                                        <p:tav tm="100000">
                                          <p:val>
                                            <p:strVal val="#ppt_x"/>
                                          </p:val>
                                        </p:tav>
                                      </p:tavLst>
                                    </p:anim>
                                    <p:anim calcmode="lin" valueType="num">
                                      <p:cBhvr>
                                        <p:cTn id="54" dur="5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12121"/>
        </a:solidFill>
        <a:effectLst/>
      </p:bgPr>
    </p:bg>
    <p:spTree>
      <p:nvGrpSpPr>
        <p:cNvPr id="1" name=""/>
        <p:cNvGrpSpPr/>
        <p:nvPr/>
      </p:nvGrpSpPr>
      <p:grpSpPr>
        <a:xfrm>
          <a:off x="0" y="0"/>
          <a:ext cx="0" cy="0"/>
          <a:chOff x="0" y="0"/>
          <a:chExt cx="0" cy="0"/>
        </a:xfrm>
      </p:grpSpPr>
      <p:sp>
        <p:nvSpPr>
          <p:cNvPr id="52" name="Rectangle 51"/>
          <p:cNvSpPr/>
          <p:nvPr/>
        </p:nvSpPr>
        <p:spPr>
          <a:xfrm>
            <a:off x="2239578" y="4121773"/>
            <a:ext cx="2166516" cy="17567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58477" tIns="179238" rIns="179238" rtlCol="0" anchor="t" anchorCtr="0"/>
          <a:lstStyle/>
          <a:p>
            <a:pPr defTabSz="914040">
              <a:defRPr/>
            </a:pPr>
            <a:r>
              <a:rPr lang="en-US" sz="2744" b="1" kern="0" dirty="0">
                <a:gradFill>
                  <a:gsLst>
                    <a:gs pos="33784">
                      <a:srgbClr val="0072C6"/>
                    </a:gs>
                    <a:gs pos="60000">
                      <a:srgbClr val="0072C6"/>
                    </a:gs>
                  </a:gsLst>
                  <a:lin ang="10800000" scaled="1"/>
                </a:gradFill>
                <a:latin typeface="Segoe UI Light" panose="020B0502040204020203" pitchFamily="34" charset="0"/>
                <a:cs typeface="Segoe UI Light" panose="020B0502040204020203" pitchFamily="34" charset="0"/>
              </a:rPr>
              <a:t>Connect</a:t>
            </a:r>
            <a:r>
              <a:rPr lang="en-US" sz="2352" kern="0" dirty="0">
                <a:gradFill>
                  <a:gsLst>
                    <a:gs pos="33784">
                      <a:srgbClr val="0072C6"/>
                    </a:gs>
                    <a:gs pos="60000">
                      <a:srgbClr val="0072C6"/>
                    </a:gs>
                  </a:gsLst>
                  <a:lin ang="10800000" scaled="1"/>
                </a:gradFill>
                <a:latin typeface="Segoe UI Light" panose="020B0502040204020203" pitchFamily="34" charset="0"/>
                <a:cs typeface="Segoe UI Light" panose="020B0502040204020203" pitchFamily="34" charset="0"/>
              </a:rPr>
              <a:t> </a:t>
            </a:r>
            <a:br>
              <a:rPr lang="en-US" sz="2352" kern="0" dirty="0">
                <a:solidFill>
                  <a:srgbClr val="0072C6"/>
                </a:solidFill>
                <a:latin typeface="Segoe UI Light" panose="020B0502040204020203" pitchFamily="34" charset="0"/>
                <a:cs typeface="Segoe UI Light" panose="020B0502040204020203" pitchFamily="34" charset="0"/>
              </a:rPr>
            </a:br>
            <a:r>
              <a:rPr lang="en-US" sz="1764" kern="0" dirty="0">
                <a:gradFill>
                  <a:gsLst>
                    <a:gs pos="97973">
                      <a:srgbClr val="505050"/>
                    </a:gs>
                    <a:gs pos="76000">
                      <a:srgbClr val="505050"/>
                    </a:gs>
                  </a:gsLst>
                  <a:lin ang="10800000" scaled="1"/>
                </a:gradFill>
                <a:latin typeface="Segoe UI"/>
                <a:cs typeface="Segoe UI Light" panose="020B0502040204020203" pitchFamily="34" charset="0"/>
              </a:rPr>
              <a:t>across your data from the cloud to on-premises</a:t>
            </a:r>
            <a:endParaRPr lang="en-US" sz="1764" b="1" kern="0" dirty="0">
              <a:gradFill>
                <a:gsLst>
                  <a:gs pos="97973">
                    <a:srgbClr val="505050"/>
                  </a:gs>
                  <a:gs pos="76000">
                    <a:srgbClr val="505050"/>
                  </a:gs>
                </a:gsLst>
                <a:lin ang="10800000" scaled="1"/>
              </a:gradFill>
              <a:latin typeface="Segoe UI"/>
              <a:cs typeface="Segoe UI Light" panose="020B0502040204020203" pitchFamily="34" charset="0"/>
            </a:endParaRPr>
          </a:p>
        </p:txBody>
      </p:sp>
      <p:sp>
        <p:nvSpPr>
          <p:cNvPr id="53" name="Rectangle 52"/>
          <p:cNvSpPr/>
          <p:nvPr/>
        </p:nvSpPr>
        <p:spPr>
          <a:xfrm>
            <a:off x="5012742" y="4121774"/>
            <a:ext cx="2166516" cy="17567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58477" tIns="179238" rIns="179238" rtlCol="0" anchor="t" anchorCtr="0"/>
          <a:lstStyle/>
          <a:p>
            <a:pPr defTabSz="914040">
              <a:defRPr/>
            </a:pPr>
            <a:r>
              <a:rPr lang="en-US" sz="2744" b="1" kern="0" dirty="0">
                <a:gradFill>
                  <a:gsLst>
                    <a:gs pos="33784">
                      <a:srgbClr val="0072C6"/>
                    </a:gs>
                    <a:gs pos="60000">
                      <a:srgbClr val="0072C6"/>
                    </a:gs>
                  </a:gsLst>
                  <a:lin ang="10800000" scaled="1"/>
                </a:gradFill>
                <a:latin typeface="Segoe UI Light" panose="020B0502040204020203" pitchFamily="34" charset="0"/>
                <a:cs typeface="Segoe UI Light" panose="020B0502040204020203" pitchFamily="34" charset="0"/>
              </a:rPr>
              <a:t>Create</a:t>
            </a:r>
            <a:r>
              <a:rPr lang="en-US" sz="2352" kern="0" dirty="0">
                <a:gradFill>
                  <a:gsLst>
                    <a:gs pos="33784">
                      <a:srgbClr val="0072C6"/>
                    </a:gs>
                    <a:gs pos="60000">
                      <a:srgbClr val="0072C6"/>
                    </a:gs>
                  </a:gsLst>
                  <a:lin ang="10800000" scaled="1"/>
                </a:gradFill>
                <a:latin typeface="Segoe UI Light" panose="020B0502040204020203" pitchFamily="34" charset="0"/>
                <a:cs typeface="Segoe UI Light" panose="020B0502040204020203" pitchFamily="34" charset="0"/>
              </a:rPr>
              <a:t> </a:t>
            </a:r>
            <a:br>
              <a:rPr lang="en-US" sz="2352" kern="0" dirty="0">
                <a:solidFill>
                  <a:srgbClr val="0072C6"/>
                </a:solidFill>
                <a:latin typeface="Segoe UI Light" panose="020B0502040204020203" pitchFamily="34" charset="0"/>
                <a:cs typeface="Segoe UI Light" panose="020B0502040204020203" pitchFamily="34" charset="0"/>
              </a:rPr>
            </a:br>
            <a:r>
              <a:rPr lang="en-US" sz="1764" kern="0" dirty="0">
                <a:gradFill>
                  <a:gsLst>
                    <a:gs pos="97973">
                      <a:srgbClr val="505050"/>
                    </a:gs>
                    <a:gs pos="76000">
                      <a:srgbClr val="505050"/>
                    </a:gs>
                  </a:gsLst>
                  <a:lin ang="10800000" scaled="1"/>
                </a:gradFill>
                <a:latin typeface="Segoe UI"/>
                <a:cs typeface="Segoe UI Light" panose="020B0502040204020203" pitchFamily="34" charset="0"/>
              </a:rPr>
              <a:t>new employee apps with easy visual tools</a:t>
            </a:r>
          </a:p>
        </p:txBody>
      </p:sp>
      <p:sp>
        <p:nvSpPr>
          <p:cNvPr id="60" name="Rectangle 59"/>
          <p:cNvSpPr/>
          <p:nvPr/>
        </p:nvSpPr>
        <p:spPr>
          <a:xfrm>
            <a:off x="7779318" y="4121774"/>
            <a:ext cx="2166516" cy="17567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58477" tIns="179238" rIns="179238" rtlCol="0" anchor="t" anchorCtr="0"/>
          <a:lstStyle/>
          <a:p>
            <a:pPr defTabSz="914040">
              <a:defRPr/>
            </a:pPr>
            <a:r>
              <a:rPr lang="en-US" sz="2744" b="1" kern="0" dirty="0">
                <a:gradFill>
                  <a:gsLst>
                    <a:gs pos="33784">
                      <a:srgbClr val="0072C6"/>
                    </a:gs>
                    <a:gs pos="60000">
                      <a:srgbClr val="0072C6"/>
                    </a:gs>
                  </a:gsLst>
                  <a:lin ang="10800000" scaled="1"/>
                </a:gradFill>
                <a:latin typeface="Segoe UI Light" panose="020B0502040204020203" pitchFamily="34" charset="0"/>
                <a:cs typeface="Segoe UI Light" panose="020B0502040204020203" pitchFamily="34" charset="0"/>
              </a:rPr>
              <a:t>Share</a:t>
            </a:r>
            <a:r>
              <a:rPr lang="en-US" sz="2352" kern="0" dirty="0">
                <a:gradFill>
                  <a:gsLst>
                    <a:gs pos="33784">
                      <a:srgbClr val="0072C6"/>
                    </a:gs>
                    <a:gs pos="60000">
                      <a:srgbClr val="0072C6"/>
                    </a:gs>
                  </a:gsLst>
                  <a:lin ang="10800000" scaled="1"/>
                </a:gradFill>
                <a:latin typeface="Segoe UI Light" panose="020B0502040204020203" pitchFamily="34" charset="0"/>
                <a:cs typeface="Segoe UI Light" panose="020B0502040204020203" pitchFamily="34" charset="0"/>
              </a:rPr>
              <a:t> </a:t>
            </a:r>
            <a:br>
              <a:rPr lang="en-US" sz="2352" kern="0" dirty="0">
                <a:solidFill>
                  <a:srgbClr val="0072C6"/>
                </a:solidFill>
                <a:latin typeface="Segoe UI Light" panose="020B0502040204020203" pitchFamily="34" charset="0"/>
                <a:cs typeface="Segoe UI Light" panose="020B0502040204020203" pitchFamily="34" charset="0"/>
              </a:rPr>
            </a:br>
            <a:r>
              <a:rPr lang="en-US" sz="1764" kern="0" dirty="0">
                <a:gradFill>
                  <a:gsLst>
                    <a:gs pos="97973">
                      <a:srgbClr val="505050"/>
                    </a:gs>
                    <a:gs pos="76000">
                      <a:srgbClr val="505050"/>
                    </a:gs>
                  </a:gsLst>
                  <a:lin ang="10800000" scaled="1"/>
                </a:gradFill>
                <a:latin typeface="Segoe UI"/>
                <a:cs typeface="Segoe UI Light" panose="020B0502040204020203" pitchFamily="34" charset="0"/>
              </a:rPr>
              <a:t>securely with your team across devices</a:t>
            </a:r>
          </a:p>
        </p:txBody>
      </p:sp>
      <p:grpSp>
        <p:nvGrpSpPr>
          <p:cNvPr id="26" name="Group 25"/>
          <p:cNvGrpSpPr/>
          <p:nvPr/>
        </p:nvGrpSpPr>
        <p:grpSpPr>
          <a:xfrm>
            <a:off x="1866220" y="3748413"/>
            <a:ext cx="746719" cy="746720"/>
            <a:chOff x="1902516" y="3579721"/>
            <a:chExt cx="761891" cy="761892"/>
          </a:xfrm>
        </p:grpSpPr>
        <p:sp>
          <p:nvSpPr>
            <p:cNvPr id="112" name="Oval 111"/>
            <p:cNvSpPr/>
            <p:nvPr/>
          </p:nvSpPr>
          <p:spPr bwMode="auto">
            <a:xfrm>
              <a:off x="1902516" y="3579721"/>
              <a:ext cx="761891" cy="76189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23" fontAlgn="base">
                <a:lnSpc>
                  <a:spcPct val="90000"/>
                </a:lnSpc>
                <a:spcBef>
                  <a:spcPct val="0"/>
                </a:spcBef>
                <a:spcAft>
                  <a:spcPct val="0"/>
                </a:spcAft>
                <a:defRPr/>
              </a:pPr>
              <a:endParaRPr lang="en-US" sz="2352" kern="0" dirty="0">
                <a:gradFill>
                  <a:gsLst>
                    <a:gs pos="86982">
                      <a:srgbClr val="505050"/>
                    </a:gs>
                    <a:gs pos="69822">
                      <a:srgbClr val="505050"/>
                    </a:gs>
                  </a:gsLst>
                  <a:lin ang="5400000" scaled="0"/>
                </a:gradFill>
                <a:latin typeface="Segoe UI"/>
                <a:ea typeface="Segoe UI" pitchFamily="34" charset="0"/>
                <a:cs typeface="Segoe UI" pitchFamily="34" charset="0"/>
              </a:endParaRPr>
            </a:p>
          </p:txBody>
        </p:sp>
        <p:sp>
          <p:nvSpPr>
            <p:cNvPr id="25" name="Freeform 5"/>
            <p:cNvSpPr>
              <a:spLocks/>
            </p:cNvSpPr>
            <p:nvPr/>
          </p:nvSpPr>
          <p:spPr bwMode="auto">
            <a:xfrm>
              <a:off x="2067402" y="3841005"/>
              <a:ext cx="432118" cy="239324"/>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grpSp>
      <p:grpSp>
        <p:nvGrpSpPr>
          <p:cNvPr id="33" name="Group 32"/>
          <p:cNvGrpSpPr/>
          <p:nvPr/>
        </p:nvGrpSpPr>
        <p:grpSpPr>
          <a:xfrm>
            <a:off x="4639384" y="3748413"/>
            <a:ext cx="746719" cy="746720"/>
            <a:chOff x="1096970" y="4856879"/>
            <a:chExt cx="761891" cy="761892"/>
          </a:xfrm>
        </p:grpSpPr>
        <p:sp>
          <p:nvSpPr>
            <p:cNvPr id="119" name="Oval 118"/>
            <p:cNvSpPr/>
            <p:nvPr/>
          </p:nvSpPr>
          <p:spPr bwMode="auto">
            <a:xfrm>
              <a:off x="1096970" y="4856879"/>
              <a:ext cx="761891" cy="76189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23" fontAlgn="base">
                <a:lnSpc>
                  <a:spcPct val="90000"/>
                </a:lnSpc>
                <a:spcBef>
                  <a:spcPct val="0"/>
                </a:spcBef>
                <a:spcAft>
                  <a:spcPct val="0"/>
                </a:spcAft>
                <a:defRPr/>
              </a:pPr>
              <a:endParaRPr lang="en-US" sz="2352" kern="0" dirty="0">
                <a:gradFill>
                  <a:gsLst>
                    <a:gs pos="86982">
                      <a:srgbClr val="505050"/>
                    </a:gs>
                    <a:gs pos="69822">
                      <a:srgbClr val="505050"/>
                    </a:gs>
                  </a:gsLst>
                  <a:lin ang="5400000" scaled="0"/>
                </a:gradFill>
                <a:latin typeface="Segoe UI"/>
                <a:ea typeface="Segoe UI" pitchFamily="34" charset="0"/>
                <a:cs typeface="Segoe UI" pitchFamily="34" charset="0"/>
              </a:endParaRPr>
            </a:p>
          </p:txBody>
        </p:sp>
        <p:grpSp>
          <p:nvGrpSpPr>
            <p:cNvPr id="28" name="Group 8"/>
            <p:cNvGrpSpPr>
              <a:grpSpLocks noChangeAspect="1"/>
            </p:cNvGrpSpPr>
            <p:nvPr/>
          </p:nvGrpSpPr>
          <p:grpSpPr bwMode="auto">
            <a:xfrm>
              <a:off x="1299999" y="5059231"/>
              <a:ext cx="355832" cy="357188"/>
              <a:chOff x="1818" y="95"/>
              <a:chExt cx="4200" cy="4216"/>
            </a:xfrm>
            <a:solidFill>
              <a:srgbClr val="FFFFFF"/>
            </a:solidFill>
          </p:grpSpPr>
          <p:sp>
            <p:nvSpPr>
              <p:cNvPr id="30" name="Freeform 9"/>
              <p:cNvSpPr>
                <a:spLocks noEditPoints="1"/>
              </p:cNvSpPr>
              <p:nvPr/>
            </p:nvSpPr>
            <p:spPr bwMode="auto">
              <a:xfrm>
                <a:off x="1922" y="885"/>
                <a:ext cx="3381" cy="3381"/>
              </a:xfrm>
              <a:custGeom>
                <a:avLst/>
                <a:gdLst>
                  <a:gd name="T0" fmla="*/ 1429 w 1429"/>
                  <a:gd name="T1" fmla="*/ 347 h 1429"/>
                  <a:gd name="T2" fmla="*/ 1163 w 1429"/>
                  <a:gd name="T3" fmla="*/ 592 h 1429"/>
                  <a:gd name="T4" fmla="*/ 1000 w 1429"/>
                  <a:gd name="T5" fmla="*/ 429 h 1429"/>
                  <a:gd name="T6" fmla="*/ 1123 w 1429"/>
                  <a:gd name="T7" fmla="*/ 286 h 1429"/>
                  <a:gd name="T8" fmla="*/ 1123 w 1429"/>
                  <a:gd name="T9" fmla="*/ 225 h 1429"/>
                  <a:gd name="T10" fmla="*/ 1123 w 1429"/>
                  <a:gd name="T11" fmla="*/ 225 h 1429"/>
                  <a:gd name="T12" fmla="*/ 1041 w 1429"/>
                  <a:gd name="T13" fmla="*/ 225 h 1429"/>
                  <a:gd name="T14" fmla="*/ 918 w 1429"/>
                  <a:gd name="T15" fmla="*/ 347 h 1429"/>
                  <a:gd name="T16" fmla="*/ 816 w 1429"/>
                  <a:gd name="T17" fmla="*/ 245 h 1429"/>
                  <a:gd name="T18" fmla="*/ 1082 w 1429"/>
                  <a:gd name="T19" fmla="*/ 0 h 1429"/>
                  <a:gd name="T20" fmla="*/ 1429 w 1429"/>
                  <a:gd name="T21" fmla="*/ 347 h 1429"/>
                  <a:gd name="T22" fmla="*/ 878 w 1429"/>
                  <a:gd name="T23" fmla="*/ 898 h 1429"/>
                  <a:gd name="T24" fmla="*/ 694 w 1429"/>
                  <a:gd name="T25" fmla="*/ 715 h 1429"/>
                  <a:gd name="T26" fmla="*/ 388 w 1429"/>
                  <a:gd name="T27" fmla="*/ 1021 h 1429"/>
                  <a:gd name="T28" fmla="*/ 306 w 1429"/>
                  <a:gd name="T29" fmla="*/ 1021 h 1429"/>
                  <a:gd name="T30" fmla="*/ 306 w 1429"/>
                  <a:gd name="T31" fmla="*/ 1021 h 1429"/>
                  <a:gd name="T32" fmla="*/ 306 w 1429"/>
                  <a:gd name="T33" fmla="*/ 960 h 1429"/>
                  <a:gd name="T34" fmla="*/ 633 w 1429"/>
                  <a:gd name="T35" fmla="*/ 633 h 1429"/>
                  <a:gd name="T36" fmla="*/ 530 w 1429"/>
                  <a:gd name="T37" fmla="*/ 551 h 1429"/>
                  <a:gd name="T38" fmla="*/ 143 w 1429"/>
                  <a:gd name="T39" fmla="*/ 939 h 1429"/>
                  <a:gd name="T40" fmla="*/ 0 w 1429"/>
                  <a:gd name="T41" fmla="*/ 1429 h 1429"/>
                  <a:gd name="T42" fmla="*/ 490 w 1429"/>
                  <a:gd name="T43" fmla="*/ 1286 h 1429"/>
                  <a:gd name="T44" fmla="*/ 878 w 1429"/>
                  <a:gd name="T45" fmla="*/ 898 h 1429"/>
                  <a:gd name="T46" fmla="*/ 878 w 1429"/>
                  <a:gd name="T47" fmla="*/ 898 h 1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9" h="1429">
                    <a:moveTo>
                      <a:pt x="1429" y="347"/>
                    </a:moveTo>
                    <a:cubicBezTo>
                      <a:pt x="1163" y="592"/>
                      <a:pt x="1163" y="592"/>
                      <a:pt x="1163" y="592"/>
                    </a:cubicBezTo>
                    <a:cubicBezTo>
                      <a:pt x="1000" y="429"/>
                      <a:pt x="1000" y="429"/>
                      <a:pt x="1000" y="429"/>
                    </a:cubicBezTo>
                    <a:cubicBezTo>
                      <a:pt x="1123" y="286"/>
                      <a:pt x="1123" y="286"/>
                      <a:pt x="1123" y="286"/>
                    </a:cubicBezTo>
                    <a:cubicBezTo>
                      <a:pt x="1143" y="266"/>
                      <a:pt x="1143" y="245"/>
                      <a:pt x="1123" y="225"/>
                    </a:cubicBezTo>
                    <a:cubicBezTo>
                      <a:pt x="1123" y="225"/>
                      <a:pt x="1123" y="225"/>
                      <a:pt x="1123" y="225"/>
                    </a:cubicBezTo>
                    <a:cubicBezTo>
                      <a:pt x="1102" y="204"/>
                      <a:pt x="1061" y="204"/>
                      <a:pt x="1041" y="225"/>
                    </a:cubicBezTo>
                    <a:cubicBezTo>
                      <a:pt x="918" y="347"/>
                      <a:pt x="918" y="347"/>
                      <a:pt x="918" y="347"/>
                    </a:cubicBezTo>
                    <a:cubicBezTo>
                      <a:pt x="816" y="245"/>
                      <a:pt x="816" y="245"/>
                      <a:pt x="816" y="245"/>
                    </a:cubicBezTo>
                    <a:cubicBezTo>
                      <a:pt x="1082" y="0"/>
                      <a:pt x="1082" y="0"/>
                      <a:pt x="1082" y="0"/>
                    </a:cubicBezTo>
                    <a:cubicBezTo>
                      <a:pt x="1429" y="347"/>
                      <a:pt x="1429" y="347"/>
                      <a:pt x="1429" y="347"/>
                    </a:cubicBezTo>
                    <a:close/>
                    <a:moveTo>
                      <a:pt x="878" y="898"/>
                    </a:moveTo>
                    <a:cubicBezTo>
                      <a:pt x="694" y="715"/>
                      <a:pt x="694" y="715"/>
                      <a:pt x="694" y="715"/>
                    </a:cubicBezTo>
                    <a:cubicBezTo>
                      <a:pt x="388" y="1021"/>
                      <a:pt x="388" y="1021"/>
                      <a:pt x="388" y="1021"/>
                    </a:cubicBezTo>
                    <a:cubicBezTo>
                      <a:pt x="367" y="1041"/>
                      <a:pt x="326" y="1041"/>
                      <a:pt x="306" y="1021"/>
                    </a:cubicBezTo>
                    <a:cubicBezTo>
                      <a:pt x="306" y="1021"/>
                      <a:pt x="306" y="1021"/>
                      <a:pt x="306" y="1021"/>
                    </a:cubicBezTo>
                    <a:cubicBezTo>
                      <a:pt x="285" y="1000"/>
                      <a:pt x="285" y="980"/>
                      <a:pt x="306" y="960"/>
                    </a:cubicBezTo>
                    <a:cubicBezTo>
                      <a:pt x="633" y="633"/>
                      <a:pt x="633" y="633"/>
                      <a:pt x="633" y="633"/>
                    </a:cubicBezTo>
                    <a:cubicBezTo>
                      <a:pt x="530" y="551"/>
                      <a:pt x="530" y="551"/>
                      <a:pt x="530" y="551"/>
                    </a:cubicBezTo>
                    <a:cubicBezTo>
                      <a:pt x="143" y="939"/>
                      <a:pt x="143" y="939"/>
                      <a:pt x="143" y="939"/>
                    </a:cubicBezTo>
                    <a:cubicBezTo>
                      <a:pt x="0" y="1429"/>
                      <a:pt x="0" y="1429"/>
                      <a:pt x="0" y="1429"/>
                    </a:cubicBezTo>
                    <a:cubicBezTo>
                      <a:pt x="490" y="1286"/>
                      <a:pt x="490" y="1286"/>
                      <a:pt x="490" y="1286"/>
                    </a:cubicBezTo>
                    <a:cubicBezTo>
                      <a:pt x="878" y="898"/>
                      <a:pt x="878" y="898"/>
                      <a:pt x="878" y="898"/>
                    </a:cubicBezTo>
                    <a:cubicBezTo>
                      <a:pt x="878" y="898"/>
                      <a:pt x="878" y="898"/>
                      <a:pt x="878" y="8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31" name="Freeform 10"/>
              <p:cNvSpPr>
                <a:spLocks/>
              </p:cNvSpPr>
              <p:nvPr/>
            </p:nvSpPr>
            <p:spPr bwMode="auto">
              <a:xfrm>
                <a:off x="4662" y="95"/>
                <a:ext cx="1356" cy="1401"/>
              </a:xfrm>
              <a:custGeom>
                <a:avLst/>
                <a:gdLst>
                  <a:gd name="T0" fmla="*/ 0 w 1356"/>
                  <a:gd name="T1" fmla="*/ 577 h 1401"/>
                  <a:gd name="T2" fmla="*/ 535 w 1356"/>
                  <a:gd name="T3" fmla="*/ 0 h 1401"/>
                  <a:gd name="T4" fmla="*/ 1356 w 1356"/>
                  <a:gd name="T5" fmla="*/ 826 h 1401"/>
                  <a:gd name="T6" fmla="*/ 821 w 1356"/>
                  <a:gd name="T7" fmla="*/ 1401 h 1401"/>
                  <a:gd name="T8" fmla="*/ 0 w 1356"/>
                  <a:gd name="T9" fmla="*/ 577 h 1401"/>
                  <a:gd name="T10" fmla="*/ 0 w 1356"/>
                  <a:gd name="T11" fmla="*/ 577 h 1401"/>
                  <a:gd name="T12" fmla="*/ 0 w 1356"/>
                  <a:gd name="T13" fmla="*/ 577 h 1401"/>
                </a:gdLst>
                <a:ahLst/>
                <a:cxnLst>
                  <a:cxn ang="0">
                    <a:pos x="T0" y="T1"/>
                  </a:cxn>
                  <a:cxn ang="0">
                    <a:pos x="T2" y="T3"/>
                  </a:cxn>
                  <a:cxn ang="0">
                    <a:pos x="T4" y="T5"/>
                  </a:cxn>
                  <a:cxn ang="0">
                    <a:pos x="T6" y="T7"/>
                  </a:cxn>
                  <a:cxn ang="0">
                    <a:pos x="T8" y="T9"/>
                  </a:cxn>
                  <a:cxn ang="0">
                    <a:pos x="T10" y="T11"/>
                  </a:cxn>
                  <a:cxn ang="0">
                    <a:pos x="T12" y="T13"/>
                  </a:cxn>
                </a:cxnLst>
                <a:rect l="0" t="0" r="r" b="b"/>
                <a:pathLst>
                  <a:path w="1356" h="1401">
                    <a:moveTo>
                      <a:pt x="0" y="577"/>
                    </a:moveTo>
                    <a:lnTo>
                      <a:pt x="535" y="0"/>
                    </a:lnTo>
                    <a:lnTo>
                      <a:pt x="1356" y="826"/>
                    </a:lnTo>
                    <a:lnTo>
                      <a:pt x="821" y="1401"/>
                    </a:lnTo>
                    <a:lnTo>
                      <a:pt x="0" y="577"/>
                    </a:lnTo>
                    <a:lnTo>
                      <a:pt x="0" y="577"/>
                    </a:lnTo>
                    <a:lnTo>
                      <a:pt x="0" y="5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sp>
            <p:nvSpPr>
              <p:cNvPr id="32" name="Freeform 11"/>
              <p:cNvSpPr>
                <a:spLocks/>
              </p:cNvSpPr>
              <p:nvPr/>
            </p:nvSpPr>
            <p:spPr bwMode="auto">
              <a:xfrm>
                <a:off x="1818" y="95"/>
                <a:ext cx="4124" cy="4216"/>
              </a:xfrm>
              <a:custGeom>
                <a:avLst/>
                <a:gdLst>
                  <a:gd name="T0" fmla="*/ 1743 w 1743"/>
                  <a:gd name="T1" fmla="*/ 1413 h 1782"/>
                  <a:gd name="T2" fmla="*/ 1723 w 1743"/>
                  <a:gd name="T3" fmla="*/ 1516 h 1782"/>
                  <a:gd name="T4" fmla="*/ 1641 w 1743"/>
                  <a:gd name="T5" fmla="*/ 1454 h 1782"/>
                  <a:gd name="T6" fmla="*/ 1436 w 1743"/>
                  <a:gd name="T7" fmla="*/ 1270 h 1782"/>
                  <a:gd name="T8" fmla="*/ 1231 w 1743"/>
                  <a:gd name="T9" fmla="*/ 1495 h 1782"/>
                  <a:gd name="T10" fmla="*/ 1354 w 1743"/>
                  <a:gd name="T11" fmla="*/ 1680 h 1782"/>
                  <a:gd name="T12" fmla="*/ 1374 w 1743"/>
                  <a:gd name="T13" fmla="*/ 1782 h 1782"/>
                  <a:gd name="T14" fmla="*/ 1374 w 1743"/>
                  <a:gd name="T15" fmla="*/ 1782 h 1782"/>
                  <a:gd name="T16" fmla="*/ 1005 w 1743"/>
                  <a:gd name="T17" fmla="*/ 1413 h 1782"/>
                  <a:gd name="T18" fmla="*/ 1025 w 1743"/>
                  <a:gd name="T19" fmla="*/ 1270 h 1782"/>
                  <a:gd name="T20" fmla="*/ 471 w 1743"/>
                  <a:gd name="T21" fmla="*/ 738 h 1782"/>
                  <a:gd name="T22" fmla="*/ 369 w 1743"/>
                  <a:gd name="T23" fmla="*/ 738 h 1782"/>
                  <a:gd name="T24" fmla="*/ 0 w 1743"/>
                  <a:gd name="T25" fmla="*/ 369 h 1782"/>
                  <a:gd name="T26" fmla="*/ 20 w 1743"/>
                  <a:gd name="T27" fmla="*/ 267 h 1782"/>
                  <a:gd name="T28" fmla="*/ 82 w 1743"/>
                  <a:gd name="T29" fmla="*/ 328 h 1782"/>
                  <a:gd name="T30" fmla="*/ 307 w 1743"/>
                  <a:gd name="T31" fmla="*/ 512 h 1782"/>
                  <a:gd name="T32" fmla="*/ 512 w 1743"/>
                  <a:gd name="T33" fmla="*/ 308 h 1782"/>
                  <a:gd name="T34" fmla="*/ 389 w 1743"/>
                  <a:gd name="T35" fmla="*/ 103 h 1782"/>
                  <a:gd name="T36" fmla="*/ 369 w 1743"/>
                  <a:gd name="T37" fmla="*/ 0 h 1782"/>
                  <a:gd name="T38" fmla="*/ 369 w 1743"/>
                  <a:gd name="T39" fmla="*/ 0 h 1782"/>
                  <a:gd name="T40" fmla="*/ 738 w 1743"/>
                  <a:gd name="T41" fmla="*/ 369 h 1782"/>
                  <a:gd name="T42" fmla="*/ 718 w 1743"/>
                  <a:gd name="T43" fmla="*/ 512 h 1782"/>
                  <a:gd name="T44" fmla="*/ 1272 w 1743"/>
                  <a:gd name="T45" fmla="*/ 1045 h 1782"/>
                  <a:gd name="T46" fmla="*/ 1354 w 1743"/>
                  <a:gd name="T47" fmla="*/ 1045 h 1782"/>
                  <a:gd name="T48" fmla="*/ 1743 w 1743"/>
                  <a:gd name="T49" fmla="*/ 1413 h 1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3" h="1782">
                    <a:moveTo>
                      <a:pt x="1743" y="1413"/>
                    </a:moveTo>
                    <a:cubicBezTo>
                      <a:pt x="1743" y="1454"/>
                      <a:pt x="1723" y="1495"/>
                      <a:pt x="1723" y="1516"/>
                    </a:cubicBezTo>
                    <a:cubicBezTo>
                      <a:pt x="1641" y="1454"/>
                      <a:pt x="1641" y="1454"/>
                      <a:pt x="1641" y="1454"/>
                    </a:cubicBezTo>
                    <a:cubicBezTo>
                      <a:pt x="1641" y="1352"/>
                      <a:pt x="1538" y="1270"/>
                      <a:pt x="1436" y="1270"/>
                    </a:cubicBezTo>
                    <a:cubicBezTo>
                      <a:pt x="1313" y="1270"/>
                      <a:pt x="1231" y="1372"/>
                      <a:pt x="1231" y="1495"/>
                    </a:cubicBezTo>
                    <a:cubicBezTo>
                      <a:pt x="1231" y="1577"/>
                      <a:pt x="1272" y="1639"/>
                      <a:pt x="1354" y="1680"/>
                    </a:cubicBezTo>
                    <a:cubicBezTo>
                      <a:pt x="1374" y="1782"/>
                      <a:pt x="1374" y="1782"/>
                      <a:pt x="1374" y="1782"/>
                    </a:cubicBezTo>
                    <a:cubicBezTo>
                      <a:pt x="1374" y="1782"/>
                      <a:pt x="1374" y="1782"/>
                      <a:pt x="1374" y="1782"/>
                    </a:cubicBezTo>
                    <a:cubicBezTo>
                      <a:pt x="1169" y="1782"/>
                      <a:pt x="1005" y="1618"/>
                      <a:pt x="1005" y="1413"/>
                    </a:cubicBezTo>
                    <a:cubicBezTo>
                      <a:pt x="1005" y="1372"/>
                      <a:pt x="1005" y="1311"/>
                      <a:pt x="1025" y="1270"/>
                    </a:cubicBezTo>
                    <a:cubicBezTo>
                      <a:pt x="471" y="738"/>
                      <a:pt x="471" y="738"/>
                      <a:pt x="471" y="738"/>
                    </a:cubicBezTo>
                    <a:cubicBezTo>
                      <a:pt x="451" y="738"/>
                      <a:pt x="410" y="738"/>
                      <a:pt x="369" y="738"/>
                    </a:cubicBezTo>
                    <a:cubicBezTo>
                      <a:pt x="184" y="738"/>
                      <a:pt x="0" y="574"/>
                      <a:pt x="0" y="369"/>
                    </a:cubicBezTo>
                    <a:cubicBezTo>
                      <a:pt x="0" y="349"/>
                      <a:pt x="20" y="308"/>
                      <a:pt x="20" y="267"/>
                    </a:cubicBezTo>
                    <a:cubicBezTo>
                      <a:pt x="82" y="328"/>
                      <a:pt x="82" y="328"/>
                      <a:pt x="82" y="328"/>
                    </a:cubicBezTo>
                    <a:cubicBezTo>
                      <a:pt x="102" y="430"/>
                      <a:pt x="205" y="512"/>
                      <a:pt x="307" y="512"/>
                    </a:cubicBezTo>
                    <a:cubicBezTo>
                      <a:pt x="430" y="512"/>
                      <a:pt x="512" y="410"/>
                      <a:pt x="512" y="308"/>
                    </a:cubicBezTo>
                    <a:cubicBezTo>
                      <a:pt x="512" y="226"/>
                      <a:pt x="471" y="144"/>
                      <a:pt x="389" y="103"/>
                    </a:cubicBezTo>
                    <a:cubicBezTo>
                      <a:pt x="369" y="0"/>
                      <a:pt x="369" y="0"/>
                      <a:pt x="369" y="0"/>
                    </a:cubicBezTo>
                    <a:cubicBezTo>
                      <a:pt x="369" y="0"/>
                      <a:pt x="369" y="0"/>
                      <a:pt x="369" y="0"/>
                    </a:cubicBezTo>
                    <a:cubicBezTo>
                      <a:pt x="574" y="0"/>
                      <a:pt x="738" y="164"/>
                      <a:pt x="738" y="369"/>
                    </a:cubicBezTo>
                    <a:cubicBezTo>
                      <a:pt x="738" y="410"/>
                      <a:pt x="738" y="471"/>
                      <a:pt x="718" y="512"/>
                    </a:cubicBezTo>
                    <a:cubicBezTo>
                      <a:pt x="1272" y="1045"/>
                      <a:pt x="1272" y="1045"/>
                      <a:pt x="1272" y="1045"/>
                    </a:cubicBezTo>
                    <a:cubicBezTo>
                      <a:pt x="1313" y="1045"/>
                      <a:pt x="1333" y="1045"/>
                      <a:pt x="1354" y="1045"/>
                    </a:cubicBezTo>
                    <a:cubicBezTo>
                      <a:pt x="1559" y="1045"/>
                      <a:pt x="1723" y="1209"/>
                      <a:pt x="1743" y="14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grpSp>
      </p:grpSp>
      <p:grpSp>
        <p:nvGrpSpPr>
          <p:cNvPr id="39" name="Group 38"/>
          <p:cNvGrpSpPr/>
          <p:nvPr/>
        </p:nvGrpSpPr>
        <p:grpSpPr>
          <a:xfrm>
            <a:off x="7416992" y="3748413"/>
            <a:ext cx="746719" cy="746720"/>
            <a:chOff x="10758544" y="3621450"/>
            <a:chExt cx="761891" cy="761892"/>
          </a:xfrm>
        </p:grpSpPr>
        <p:sp>
          <p:nvSpPr>
            <p:cNvPr id="122" name="Oval 121"/>
            <p:cNvSpPr/>
            <p:nvPr/>
          </p:nvSpPr>
          <p:spPr bwMode="auto">
            <a:xfrm>
              <a:off x="10758544" y="3621450"/>
              <a:ext cx="761891" cy="76189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23" fontAlgn="base">
                <a:lnSpc>
                  <a:spcPct val="90000"/>
                </a:lnSpc>
                <a:spcBef>
                  <a:spcPct val="0"/>
                </a:spcBef>
                <a:spcAft>
                  <a:spcPct val="0"/>
                </a:spcAft>
                <a:defRPr/>
              </a:pPr>
              <a:endParaRPr lang="en-US" sz="2352" kern="0" dirty="0">
                <a:gradFill>
                  <a:gsLst>
                    <a:gs pos="86982">
                      <a:srgbClr val="505050"/>
                    </a:gs>
                    <a:gs pos="69822">
                      <a:srgbClr val="505050"/>
                    </a:gs>
                  </a:gsLst>
                  <a:lin ang="5400000" scaled="0"/>
                </a:gradFill>
                <a:latin typeface="Segoe UI"/>
                <a:ea typeface="Segoe UI" pitchFamily="34" charset="0"/>
                <a:cs typeface="Segoe UI" pitchFamily="34" charset="0"/>
              </a:endParaRPr>
            </a:p>
          </p:txBody>
        </p:sp>
        <p:sp>
          <p:nvSpPr>
            <p:cNvPr id="38" name="Freeform 15"/>
            <p:cNvSpPr>
              <a:spLocks noEditPoints="1"/>
            </p:cNvSpPr>
            <p:nvPr/>
          </p:nvSpPr>
          <p:spPr bwMode="auto">
            <a:xfrm rot="5400000">
              <a:off x="10938707" y="3788085"/>
              <a:ext cx="401564" cy="428622"/>
            </a:xfrm>
            <a:custGeom>
              <a:avLst/>
              <a:gdLst>
                <a:gd name="T0" fmla="*/ 1577 w 1894"/>
                <a:gd name="T1" fmla="*/ 308 h 2022"/>
                <a:gd name="T2" fmla="*/ 1577 w 1894"/>
                <a:gd name="T3" fmla="*/ 1170 h 2022"/>
                <a:gd name="T4" fmla="*/ 1568 w 1894"/>
                <a:gd name="T5" fmla="*/ 1170 h 2022"/>
                <a:gd name="T6" fmla="*/ 1568 w 1894"/>
                <a:gd name="T7" fmla="*/ 1187 h 2022"/>
                <a:gd name="T8" fmla="*/ 1604 w 1894"/>
                <a:gd name="T9" fmla="*/ 1222 h 2022"/>
                <a:gd name="T10" fmla="*/ 1868 w 1894"/>
                <a:gd name="T11" fmla="*/ 1222 h 2022"/>
                <a:gd name="T12" fmla="*/ 1886 w 1894"/>
                <a:gd name="T13" fmla="*/ 1249 h 2022"/>
                <a:gd name="T14" fmla="*/ 1287 w 1894"/>
                <a:gd name="T15" fmla="*/ 2004 h 2022"/>
                <a:gd name="T16" fmla="*/ 1260 w 1894"/>
                <a:gd name="T17" fmla="*/ 2022 h 2022"/>
                <a:gd name="T18" fmla="*/ 1242 w 1894"/>
                <a:gd name="T19" fmla="*/ 2004 h 2022"/>
                <a:gd name="T20" fmla="*/ 661 w 1894"/>
                <a:gd name="T21" fmla="*/ 1249 h 2022"/>
                <a:gd name="T22" fmla="*/ 670 w 1894"/>
                <a:gd name="T23" fmla="*/ 1222 h 2022"/>
                <a:gd name="T24" fmla="*/ 934 w 1894"/>
                <a:gd name="T25" fmla="*/ 1222 h 2022"/>
                <a:gd name="T26" fmla="*/ 969 w 1894"/>
                <a:gd name="T27" fmla="*/ 1187 h 2022"/>
                <a:gd name="T28" fmla="*/ 969 w 1894"/>
                <a:gd name="T29" fmla="*/ 1170 h 2022"/>
                <a:gd name="T30" fmla="*/ 969 w 1894"/>
                <a:gd name="T31" fmla="*/ 1170 h 2022"/>
                <a:gd name="T32" fmla="*/ 969 w 1894"/>
                <a:gd name="T33" fmla="*/ 844 h 2022"/>
                <a:gd name="T34" fmla="*/ 1225 w 1894"/>
                <a:gd name="T35" fmla="*/ 844 h 2022"/>
                <a:gd name="T36" fmla="*/ 1287 w 1894"/>
                <a:gd name="T37" fmla="*/ 809 h 2022"/>
                <a:gd name="T38" fmla="*/ 1269 w 1894"/>
                <a:gd name="T39" fmla="*/ 739 h 2022"/>
                <a:gd name="T40" fmla="*/ 960 w 1894"/>
                <a:gd name="T41" fmla="*/ 334 h 2022"/>
                <a:gd name="T42" fmla="*/ 960 w 1894"/>
                <a:gd name="T43" fmla="*/ 308 h 2022"/>
                <a:gd name="T44" fmla="*/ 996 w 1894"/>
                <a:gd name="T45" fmla="*/ 273 h 2022"/>
                <a:gd name="T46" fmla="*/ 1542 w 1894"/>
                <a:gd name="T47" fmla="*/ 273 h 2022"/>
                <a:gd name="T48" fmla="*/ 1577 w 1894"/>
                <a:gd name="T49" fmla="*/ 308 h 2022"/>
                <a:gd name="T50" fmla="*/ 952 w 1894"/>
                <a:gd name="T51" fmla="*/ 792 h 2022"/>
                <a:gd name="T52" fmla="*/ 1225 w 1894"/>
                <a:gd name="T53" fmla="*/ 792 h 2022"/>
                <a:gd name="T54" fmla="*/ 1234 w 1894"/>
                <a:gd name="T55" fmla="*/ 765 h 2022"/>
                <a:gd name="T56" fmla="*/ 652 w 1894"/>
                <a:gd name="T57" fmla="*/ 9 h 2022"/>
                <a:gd name="T58" fmla="*/ 626 w 1894"/>
                <a:gd name="T59" fmla="*/ 0 h 2022"/>
                <a:gd name="T60" fmla="*/ 608 w 1894"/>
                <a:gd name="T61" fmla="*/ 9 h 2022"/>
                <a:gd name="T62" fmla="*/ 9 w 1894"/>
                <a:gd name="T63" fmla="*/ 765 h 2022"/>
                <a:gd name="T64" fmla="*/ 27 w 1894"/>
                <a:gd name="T65" fmla="*/ 792 h 2022"/>
                <a:gd name="T66" fmla="*/ 282 w 1894"/>
                <a:gd name="T67" fmla="*/ 792 h 2022"/>
                <a:gd name="T68" fmla="*/ 317 w 1894"/>
                <a:gd name="T69" fmla="*/ 827 h 2022"/>
                <a:gd name="T70" fmla="*/ 317 w 1894"/>
                <a:gd name="T71" fmla="*/ 1670 h 2022"/>
                <a:gd name="T72" fmla="*/ 353 w 1894"/>
                <a:gd name="T73" fmla="*/ 1706 h 2022"/>
                <a:gd name="T74" fmla="*/ 890 w 1894"/>
                <a:gd name="T75" fmla="*/ 1706 h 2022"/>
                <a:gd name="T76" fmla="*/ 925 w 1894"/>
                <a:gd name="T77" fmla="*/ 1670 h 2022"/>
                <a:gd name="T78" fmla="*/ 925 w 1894"/>
                <a:gd name="T79" fmla="*/ 1670 h 2022"/>
                <a:gd name="T80" fmla="*/ 617 w 1894"/>
                <a:gd name="T81" fmla="*/ 1284 h 2022"/>
                <a:gd name="T82" fmla="*/ 608 w 1894"/>
                <a:gd name="T83" fmla="*/ 1213 h 2022"/>
                <a:gd name="T84" fmla="*/ 670 w 1894"/>
                <a:gd name="T85" fmla="*/ 1178 h 2022"/>
                <a:gd name="T86" fmla="*/ 925 w 1894"/>
                <a:gd name="T87" fmla="*/ 1178 h 2022"/>
                <a:gd name="T88" fmla="*/ 925 w 1894"/>
                <a:gd name="T89" fmla="*/ 827 h 2022"/>
                <a:gd name="T90" fmla="*/ 952 w 1894"/>
                <a:gd name="T91" fmla="*/ 792 h 20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4" h="2022">
                  <a:moveTo>
                    <a:pt x="1577" y="308"/>
                  </a:moveTo>
                  <a:cubicBezTo>
                    <a:pt x="1577" y="1170"/>
                    <a:pt x="1577" y="1170"/>
                    <a:pt x="1577" y="1170"/>
                  </a:cubicBezTo>
                  <a:cubicBezTo>
                    <a:pt x="1568" y="1170"/>
                    <a:pt x="1568" y="1170"/>
                    <a:pt x="1568" y="1170"/>
                  </a:cubicBezTo>
                  <a:cubicBezTo>
                    <a:pt x="1568" y="1187"/>
                    <a:pt x="1568" y="1187"/>
                    <a:pt x="1568" y="1187"/>
                  </a:cubicBezTo>
                  <a:cubicBezTo>
                    <a:pt x="1568" y="1213"/>
                    <a:pt x="1586" y="1222"/>
                    <a:pt x="1604" y="1222"/>
                  </a:cubicBezTo>
                  <a:cubicBezTo>
                    <a:pt x="1868" y="1222"/>
                    <a:pt x="1868" y="1222"/>
                    <a:pt x="1868" y="1222"/>
                  </a:cubicBezTo>
                  <a:cubicBezTo>
                    <a:pt x="1886" y="1222"/>
                    <a:pt x="1894" y="1240"/>
                    <a:pt x="1886" y="1249"/>
                  </a:cubicBezTo>
                  <a:cubicBezTo>
                    <a:pt x="1287" y="2004"/>
                    <a:pt x="1287" y="2004"/>
                    <a:pt x="1287" y="2004"/>
                  </a:cubicBezTo>
                  <a:cubicBezTo>
                    <a:pt x="1278" y="2013"/>
                    <a:pt x="1269" y="2022"/>
                    <a:pt x="1260" y="2022"/>
                  </a:cubicBezTo>
                  <a:cubicBezTo>
                    <a:pt x="1251" y="2022"/>
                    <a:pt x="1251" y="2013"/>
                    <a:pt x="1242" y="2004"/>
                  </a:cubicBezTo>
                  <a:cubicBezTo>
                    <a:pt x="661" y="1249"/>
                    <a:pt x="661" y="1249"/>
                    <a:pt x="661" y="1249"/>
                  </a:cubicBezTo>
                  <a:cubicBezTo>
                    <a:pt x="643" y="1240"/>
                    <a:pt x="652" y="1222"/>
                    <a:pt x="670" y="1222"/>
                  </a:cubicBezTo>
                  <a:cubicBezTo>
                    <a:pt x="934" y="1222"/>
                    <a:pt x="934" y="1222"/>
                    <a:pt x="934" y="1222"/>
                  </a:cubicBezTo>
                  <a:cubicBezTo>
                    <a:pt x="952" y="1222"/>
                    <a:pt x="969" y="1213"/>
                    <a:pt x="969" y="1187"/>
                  </a:cubicBezTo>
                  <a:cubicBezTo>
                    <a:pt x="969" y="1170"/>
                    <a:pt x="969" y="1170"/>
                    <a:pt x="969" y="1170"/>
                  </a:cubicBezTo>
                  <a:cubicBezTo>
                    <a:pt x="969" y="1170"/>
                    <a:pt x="969" y="1170"/>
                    <a:pt x="969" y="1170"/>
                  </a:cubicBezTo>
                  <a:cubicBezTo>
                    <a:pt x="969" y="844"/>
                    <a:pt x="969" y="844"/>
                    <a:pt x="969" y="844"/>
                  </a:cubicBezTo>
                  <a:cubicBezTo>
                    <a:pt x="1225" y="844"/>
                    <a:pt x="1225" y="844"/>
                    <a:pt x="1225" y="844"/>
                  </a:cubicBezTo>
                  <a:cubicBezTo>
                    <a:pt x="1251" y="844"/>
                    <a:pt x="1269" y="827"/>
                    <a:pt x="1287" y="809"/>
                  </a:cubicBezTo>
                  <a:cubicBezTo>
                    <a:pt x="1295" y="783"/>
                    <a:pt x="1287" y="756"/>
                    <a:pt x="1269" y="739"/>
                  </a:cubicBezTo>
                  <a:cubicBezTo>
                    <a:pt x="960" y="334"/>
                    <a:pt x="960" y="334"/>
                    <a:pt x="960" y="334"/>
                  </a:cubicBezTo>
                  <a:cubicBezTo>
                    <a:pt x="960" y="308"/>
                    <a:pt x="960" y="308"/>
                    <a:pt x="960" y="308"/>
                  </a:cubicBezTo>
                  <a:cubicBezTo>
                    <a:pt x="960" y="291"/>
                    <a:pt x="978" y="273"/>
                    <a:pt x="996" y="273"/>
                  </a:cubicBezTo>
                  <a:cubicBezTo>
                    <a:pt x="1542" y="273"/>
                    <a:pt x="1542" y="273"/>
                    <a:pt x="1542" y="273"/>
                  </a:cubicBezTo>
                  <a:cubicBezTo>
                    <a:pt x="1560" y="273"/>
                    <a:pt x="1577" y="291"/>
                    <a:pt x="1577" y="308"/>
                  </a:cubicBezTo>
                  <a:close/>
                  <a:moveTo>
                    <a:pt x="952" y="792"/>
                  </a:moveTo>
                  <a:cubicBezTo>
                    <a:pt x="1225" y="792"/>
                    <a:pt x="1225" y="792"/>
                    <a:pt x="1225" y="792"/>
                  </a:cubicBezTo>
                  <a:cubicBezTo>
                    <a:pt x="1242" y="792"/>
                    <a:pt x="1242" y="783"/>
                    <a:pt x="1234" y="765"/>
                  </a:cubicBezTo>
                  <a:cubicBezTo>
                    <a:pt x="652" y="9"/>
                    <a:pt x="652" y="9"/>
                    <a:pt x="652" y="9"/>
                  </a:cubicBezTo>
                  <a:cubicBezTo>
                    <a:pt x="643" y="0"/>
                    <a:pt x="634" y="0"/>
                    <a:pt x="626" y="0"/>
                  </a:cubicBezTo>
                  <a:cubicBezTo>
                    <a:pt x="626" y="0"/>
                    <a:pt x="617" y="0"/>
                    <a:pt x="608" y="9"/>
                  </a:cubicBezTo>
                  <a:cubicBezTo>
                    <a:pt x="9" y="765"/>
                    <a:pt x="9" y="765"/>
                    <a:pt x="9" y="765"/>
                  </a:cubicBezTo>
                  <a:cubicBezTo>
                    <a:pt x="0" y="783"/>
                    <a:pt x="9" y="792"/>
                    <a:pt x="27" y="792"/>
                  </a:cubicBezTo>
                  <a:cubicBezTo>
                    <a:pt x="282" y="792"/>
                    <a:pt x="282" y="792"/>
                    <a:pt x="282" y="792"/>
                  </a:cubicBezTo>
                  <a:cubicBezTo>
                    <a:pt x="300" y="792"/>
                    <a:pt x="317" y="809"/>
                    <a:pt x="317" y="827"/>
                  </a:cubicBezTo>
                  <a:cubicBezTo>
                    <a:pt x="317" y="1670"/>
                    <a:pt x="317" y="1670"/>
                    <a:pt x="317" y="1670"/>
                  </a:cubicBezTo>
                  <a:cubicBezTo>
                    <a:pt x="317" y="1697"/>
                    <a:pt x="335" y="1706"/>
                    <a:pt x="353" y="1706"/>
                  </a:cubicBezTo>
                  <a:cubicBezTo>
                    <a:pt x="890" y="1706"/>
                    <a:pt x="890" y="1706"/>
                    <a:pt x="890" y="1706"/>
                  </a:cubicBezTo>
                  <a:cubicBezTo>
                    <a:pt x="908" y="1706"/>
                    <a:pt x="925" y="1697"/>
                    <a:pt x="925" y="1670"/>
                  </a:cubicBezTo>
                  <a:cubicBezTo>
                    <a:pt x="925" y="1670"/>
                    <a:pt x="925" y="1670"/>
                    <a:pt x="925" y="1670"/>
                  </a:cubicBezTo>
                  <a:cubicBezTo>
                    <a:pt x="617" y="1284"/>
                    <a:pt x="617" y="1284"/>
                    <a:pt x="617" y="1284"/>
                  </a:cubicBezTo>
                  <a:cubicBezTo>
                    <a:pt x="599" y="1257"/>
                    <a:pt x="599" y="1231"/>
                    <a:pt x="608" y="1213"/>
                  </a:cubicBezTo>
                  <a:cubicBezTo>
                    <a:pt x="617" y="1187"/>
                    <a:pt x="643" y="1178"/>
                    <a:pt x="670" y="1178"/>
                  </a:cubicBezTo>
                  <a:cubicBezTo>
                    <a:pt x="925" y="1178"/>
                    <a:pt x="925" y="1178"/>
                    <a:pt x="925" y="1178"/>
                  </a:cubicBezTo>
                  <a:cubicBezTo>
                    <a:pt x="925" y="827"/>
                    <a:pt x="925" y="827"/>
                    <a:pt x="925" y="827"/>
                  </a:cubicBezTo>
                  <a:cubicBezTo>
                    <a:pt x="925" y="809"/>
                    <a:pt x="934" y="792"/>
                    <a:pt x="952" y="792"/>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4040">
                <a:defRPr/>
              </a:pPr>
              <a:endParaRPr lang="en-US" sz="1799" kern="0">
                <a:solidFill>
                  <a:srgbClr val="505050"/>
                </a:solidFill>
                <a:latin typeface="Segoe UI"/>
              </a:endParaRPr>
            </a:p>
          </p:txBody>
        </p:sp>
      </p:grpSp>
      <p:grpSp>
        <p:nvGrpSpPr>
          <p:cNvPr id="204" name="Group 203"/>
          <p:cNvGrpSpPr/>
          <p:nvPr/>
        </p:nvGrpSpPr>
        <p:grpSpPr>
          <a:xfrm>
            <a:off x="5283495" y="100478"/>
            <a:ext cx="4610631" cy="4606184"/>
            <a:chOff x="5303837" y="144462"/>
            <a:chExt cx="4703084" cy="4698548"/>
          </a:xfrm>
        </p:grpSpPr>
        <p:grpSp>
          <p:nvGrpSpPr>
            <p:cNvPr id="223" name="Group 222"/>
            <p:cNvGrpSpPr/>
            <p:nvPr/>
          </p:nvGrpSpPr>
          <p:grpSpPr>
            <a:xfrm>
              <a:off x="5303837" y="144462"/>
              <a:ext cx="4703084" cy="4698548"/>
              <a:chOff x="1952530" y="-1740734"/>
              <a:chExt cx="10270980" cy="10261079"/>
            </a:xfrm>
          </p:grpSpPr>
          <p:grpSp>
            <p:nvGrpSpPr>
              <p:cNvPr id="230" name="Group 229"/>
              <p:cNvGrpSpPr/>
              <p:nvPr/>
            </p:nvGrpSpPr>
            <p:grpSpPr>
              <a:xfrm>
                <a:off x="1952530" y="-1740734"/>
                <a:ext cx="10270980" cy="10261079"/>
                <a:chOff x="16648" y="-3674747"/>
                <a:chExt cx="14142744" cy="14129106"/>
              </a:xfrm>
            </p:grpSpPr>
            <p:grpSp>
              <p:nvGrpSpPr>
                <p:cNvPr id="238" name="Group 237"/>
                <p:cNvGrpSpPr/>
                <p:nvPr/>
              </p:nvGrpSpPr>
              <p:grpSpPr>
                <a:xfrm>
                  <a:off x="16648" y="-3674747"/>
                  <a:ext cx="14142744" cy="14129106"/>
                  <a:chOff x="-51626" y="-3606876"/>
                  <a:chExt cx="14142744" cy="14129106"/>
                </a:xfrm>
              </p:grpSpPr>
              <p:sp>
                <p:nvSpPr>
                  <p:cNvPr id="240" name="Pie 65"/>
                  <p:cNvSpPr/>
                  <p:nvPr/>
                </p:nvSpPr>
                <p:spPr>
                  <a:xfrm rot="8100000">
                    <a:off x="-51626" y="-3598005"/>
                    <a:ext cx="14120233" cy="14120235"/>
                  </a:xfrm>
                  <a:prstGeom prst="pie">
                    <a:avLst>
                      <a:gd name="adj1" fmla="val 10794123"/>
                      <a:gd name="adj2" fmla="val 11155522"/>
                    </a:avLst>
                  </a:prstGeom>
                  <a:solidFill>
                    <a:srgbClr val="C10E78">
                      <a:alpha val="20000"/>
                    </a:srgbClr>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rgbClr val="B4009E">
                          <a:lumMod val="40000"/>
                          <a:lumOff val="60000"/>
                        </a:srgbClr>
                      </a:solidFill>
                      <a:latin typeface="Segoe UI"/>
                    </a:endParaRPr>
                  </a:p>
                </p:txBody>
              </p:sp>
              <p:sp>
                <p:nvSpPr>
                  <p:cNvPr id="241" name="Pie 66"/>
                  <p:cNvSpPr/>
                  <p:nvPr/>
                </p:nvSpPr>
                <p:spPr>
                  <a:xfrm rot="8650228">
                    <a:off x="-29112" y="-3598005"/>
                    <a:ext cx="14120230" cy="14120232"/>
                  </a:xfrm>
                  <a:prstGeom prst="pie">
                    <a:avLst>
                      <a:gd name="adj1" fmla="val 10794123"/>
                      <a:gd name="adj2" fmla="val 11155522"/>
                    </a:avLst>
                  </a:prstGeom>
                  <a:solidFill>
                    <a:srgbClr val="C10E78">
                      <a:alpha val="20000"/>
                    </a:srgbClr>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rgbClr val="B4009E">
                          <a:lumMod val="40000"/>
                          <a:lumOff val="60000"/>
                        </a:srgbClr>
                      </a:solidFill>
                      <a:latin typeface="Segoe UI"/>
                    </a:endParaRPr>
                  </a:p>
                </p:txBody>
              </p:sp>
              <p:sp>
                <p:nvSpPr>
                  <p:cNvPr id="242" name="Pie 68"/>
                  <p:cNvSpPr/>
                  <p:nvPr/>
                </p:nvSpPr>
                <p:spPr>
                  <a:xfrm rot="9200540">
                    <a:off x="-29113" y="-3598005"/>
                    <a:ext cx="14120231" cy="14120232"/>
                  </a:xfrm>
                  <a:prstGeom prst="pie">
                    <a:avLst>
                      <a:gd name="adj1" fmla="val 10794123"/>
                      <a:gd name="adj2" fmla="val 11155522"/>
                    </a:avLst>
                  </a:prstGeom>
                  <a:solidFill>
                    <a:srgbClr val="C10E78">
                      <a:alpha val="20000"/>
                    </a:srgbClr>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rgbClr val="B4009E">
                          <a:lumMod val="40000"/>
                          <a:lumOff val="60000"/>
                        </a:srgbClr>
                      </a:solidFill>
                      <a:latin typeface="Segoe UI"/>
                    </a:endParaRPr>
                  </a:p>
                </p:txBody>
              </p:sp>
              <p:sp>
                <p:nvSpPr>
                  <p:cNvPr id="243" name="Pie 71"/>
                  <p:cNvSpPr/>
                  <p:nvPr/>
                </p:nvSpPr>
                <p:spPr>
                  <a:xfrm rot="9761099">
                    <a:off x="-38046" y="-3602441"/>
                    <a:ext cx="14120230" cy="14120236"/>
                  </a:xfrm>
                  <a:prstGeom prst="pie">
                    <a:avLst>
                      <a:gd name="adj1" fmla="val 10794123"/>
                      <a:gd name="adj2" fmla="val 11155522"/>
                    </a:avLst>
                  </a:prstGeom>
                  <a:solidFill>
                    <a:srgbClr val="C10E78">
                      <a:alpha val="20000"/>
                    </a:srgbClr>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rgbClr val="B4009E">
                          <a:lumMod val="40000"/>
                          <a:lumOff val="60000"/>
                        </a:srgbClr>
                      </a:solidFill>
                      <a:latin typeface="Segoe UI"/>
                    </a:endParaRPr>
                  </a:p>
                </p:txBody>
              </p:sp>
              <p:sp>
                <p:nvSpPr>
                  <p:cNvPr id="244" name="Pie 72"/>
                  <p:cNvSpPr/>
                  <p:nvPr/>
                </p:nvSpPr>
                <p:spPr>
                  <a:xfrm rot="11531487">
                    <a:off x="-51626" y="-3602441"/>
                    <a:ext cx="14120230" cy="14120233"/>
                  </a:xfrm>
                  <a:prstGeom prst="pie">
                    <a:avLst>
                      <a:gd name="adj1" fmla="val 10794123"/>
                      <a:gd name="adj2" fmla="val 11155522"/>
                    </a:avLst>
                  </a:prstGeom>
                  <a:solidFill>
                    <a:srgbClr val="C10E78">
                      <a:alpha val="20000"/>
                    </a:srgbClr>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rgbClr val="B4009E">
                          <a:lumMod val="40000"/>
                          <a:lumOff val="60000"/>
                        </a:srgbClr>
                      </a:solidFill>
                      <a:latin typeface="Segoe UI"/>
                    </a:endParaRPr>
                  </a:p>
                </p:txBody>
              </p:sp>
              <p:sp>
                <p:nvSpPr>
                  <p:cNvPr id="245" name="Pie 73"/>
                  <p:cNvSpPr/>
                  <p:nvPr/>
                </p:nvSpPr>
                <p:spPr>
                  <a:xfrm rot="12081715">
                    <a:off x="-29113" y="-3602440"/>
                    <a:ext cx="14120231" cy="14120234"/>
                  </a:xfrm>
                  <a:prstGeom prst="pie">
                    <a:avLst>
                      <a:gd name="adj1" fmla="val 10794123"/>
                      <a:gd name="adj2" fmla="val 11155522"/>
                    </a:avLst>
                  </a:prstGeom>
                  <a:solidFill>
                    <a:srgbClr val="C10E78">
                      <a:alpha val="20000"/>
                    </a:srgbClr>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rgbClr val="B4009E">
                          <a:lumMod val="40000"/>
                          <a:lumOff val="60000"/>
                        </a:srgbClr>
                      </a:solidFill>
                      <a:latin typeface="Segoe UI"/>
                    </a:endParaRPr>
                  </a:p>
                </p:txBody>
              </p:sp>
              <p:sp>
                <p:nvSpPr>
                  <p:cNvPr id="246" name="Pie 74"/>
                  <p:cNvSpPr/>
                  <p:nvPr/>
                </p:nvSpPr>
                <p:spPr>
                  <a:xfrm rot="12632027">
                    <a:off x="-29113" y="-3602441"/>
                    <a:ext cx="14120231" cy="14120236"/>
                  </a:xfrm>
                  <a:prstGeom prst="pie">
                    <a:avLst>
                      <a:gd name="adj1" fmla="val 10794123"/>
                      <a:gd name="adj2" fmla="val 11155522"/>
                    </a:avLst>
                  </a:prstGeom>
                  <a:solidFill>
                    <a:srgbClr val="C10E78">
                      <a:alpha val="20000"/>
                    </a:srgbClr>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rgbClr val="B4009E">
                          <a:lumMod val="40000"/>
                          <a:lumOff val="60000"/>
                        </a:srgbClr>
                      </a:solidFill>
                      <a:latin typeface="Segoe UI"/>
                    </a:endParaRPr>
                  </a:p>
                </p:txBody>
              </p:sp>
              <p:sp>
                <p:nvSpPr>
                  <p:cNvPr id="247" name="Pie 75"/>
                  <p:cNvSpPr/>
                  <p:nvPr/>
                </p:nvSpPr>
                <p:spPr>
                  <a:xfrm rot="13192586">
                    <a:off x="-38046" y="-3606876"/>
                    <a:ext cx="14120231" cy="14120236"/>
                  </a:xfrm>
                  <a:prstGeom prst="pie">
                    <a:avLst>
                      <a:gd name="adj1" fmla="val 10794123"/>
                      <a:gd name="adj2" fmla="val 11155522"/>
                    </a:avLst>
                  </a:prstGeom>
                  <a:solidFill>
                    <a:srgbClr val="C10E78">
                      <a:alpha val="20000"/>
                    </a:srgbClr>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rgbClr val="B4009E">
                          <a:lumMod val="40000"/>
                          <a:lumOff val="60000"/>
                        </a:srgbClr>
                      </a:solidFill>
                      <a:latin typeface="Segoe UI"/>
                    </a:endParaRPr>
                  </a:p>
                </p:txBody>
              </p:sp>
              <p:sp>
                <p:nvSpPr>
                  <p:cNvPr id="248" name="Pie 76"/>
                  <p:cNvSpPr/>
                  <p:nvPr/>
                </p:nvSpPr>
                <p:spPr>
                  <a:xfrm rot="10368099">
                    <a:off x="-39726" y="-3602442"/>
                    <a:ext cx="14120231" cy="14120233"/>
                  </a:xfrm>
                  <a:prstGeom prst="pie">
                    <a:avLst>
                      <a:gd name="adj1" fmla="val 10794123"/>
                      <a:gd name="adj2" fmla="val 11155522"/>
                    </a:avLst>
                  </a:prstGeom>
                  <a:solidFill>
                    <a:srgbClr val="C10E78">
                      <a:alpha val="20000"/>
                    </a:srgbClr>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rgbClr val="B4009E">
                          <a:lumMod val="40000"/>
                          <a:lumOff val="60000"/>
                        </a:srgbClr>
                      </a:solidFill>
                      <a:latin typeface="Segoe UI"/>
                    </a:endParaRPr>
                  </a:p>
                </p:txBody>
              </p:sp>
              <p:sp>
                <p:nvSpPr>
                  <p:cNvPr id="249" name="Pie 77"/>
                  <p:cNvSpPr/>
                  <p:nvPr/>
                </p:nvSpPr>
                <p:spPr>
                  <a:xfrm rot="10954026">
                    <a:off x="-39727" y="-3602438"/>
                    <a:ext cx="14120230" cy="14120233"/>
                  </a:xfrm>
                  <a:prstGeom prst="pie">
                    <a:avLst>
                      <a:gd name="adj1" fmla="val 10794123"/>
                      <a:gd name="adj2" fmla="val 11155522"/>
                    </a:avLst>
                  </a:prstGeom>
                  <a:solidFill>
                    <a:srgbClr val="C10E78">
                      <a:alpha val="20000"/>
                    </a:srgbClr>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rgbClr val="B4009E">
                          <a:lumMod val="40000"/>
                          <a:lumOff val="60000"/>
                        </a:srgbClr>
                      </a:solidFill>
                      <a:latin typeface="Segoe UI"/>
                    </a:endParaRPr>
                  </a:p>
                </p:txBody>
              </p:sp>
            </p:grpSp>
            <p:sp>
              <p:nvSpPr>
                <p:cNvPr id="239" name="Pie 64"/>
                <p:cNvSpPr/>
                <p:nvPr/>
              </p:nvSpPr>
              <p:spPr>
                <a:xfrm rot="8100000">
                  <a:off x="2607866" y="-943535"/>
                  <a:ext cx="8783001" cy="8783002"/>
                </a:xfrm>
                <a:prstGeom prst="pie">
                  <a:avLst>
                    <a:gd name="adj1" fmla="val 10794123"/>
                    <a:gd name="adj2" fmla="val 16206140"/>
                  </a:avLst>
                </a:prstGeom>
                <a:solidFill>
                  <a:srgbClr val="50505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dirty="0">
                    <a:solidFill>
                      <a:srgbClr val="B4009E">
                        <a:lumMod val="40000"/>
                        <a:lumOff val="60000"/>
                      </a:srgbClr>
                    </a:solidFill>
                    <a:latin typeface="Segoe UI"/>
                  </a:endParaRPr>
                </a:p>
              </p:txBody>
            </p:sp>
          </p:grpSp>
          <p:sp>
            <p:nvSpPr>
              <p:cNvPr id="231" name="Block Arc 230"/>
              <p:cNvSpPr/>
              <p:nvPr/>
            </p:nvSpPr>
            <p:spPr>
              <a:xfrm rot="5400000">
                <a:off x="5053977" y="1385144"/>
                <a:ext cx="4091238" cy="4091238"/>
              </a:xfrm>
              <a:prstGeom prst="blockArc">
                <a:avLst>
                  <a:gd name="adj1" fmla="val 13370016"/>
                  <a:gd name="adj2" fmla="val 19013162"/>
                  <a:gd name="adj3" fmla="val 2933"/>
                </a:avLst>
              </a:prstGeom>
              <a:solidFill>
                <a:srgbClr val="50505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rgbClr val="B4009E">
                      <a:lumMod val="40000"/>
                      <a:lumOff val="60000"/>
                    </a:srgbClr>
                  </a:solidFill>
                  <a:latin typeface="Segoe UI"/>
                </a:endParaRPr>
              </a:p>
            </p:txBody>
          </p:sp>
          <p:sp>
            <p:nvSpPr>
              <p:cNvPr id="232" name="Block Arc 231"/>
              <p:cNvSpPr/>
              <p:nvPr/>
            </p:nvSpPr>
            <p:spPr>
              <a:xfrm rot="5400000">
                <a:off x="4673846" y="959796"/>
                <a:ext cx="4831404" cy="4831404"/>
              </a:xfrm>
              <a:prstGeom prst="blockArc">
                <a:avLst>
                  <a:gd name="adj1" fmla="val 13370016"/>
                  <a:gd name="adj2" fmla="val 19069459"/>
                  <a:gd name="adj3" fmla="val 2691"/>
                </a:avLst>
              </a:prstGeom>
              <a:solidFill>
                <a:srgbClr val="50505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rgbClr val="B4009E">
                      <a:lumMod val="40000"/>
                      <a:lumOff val="60000"/>
                    </a:srgbClr>
                  </a:solidFill>
                  <a:latin typeface="Segoe UI"/>
                </a:endParaRPr>
              </a:p>
            </p:txBody>
          </p:sp>
          <p:sp>
            <p:nvSpPr>
              <p:cNvPr id="233" name="Block Arc 232"/>
              <p:cNvSpPr/>
              <p:nvPr/>
            </p:nvSpPr>
            <p:spPr>
              <a:xfrm rot="5400000">
                <a:off x="4313256" y="571981"/>
                <a:ext cx="5592744" cy="5592744"/>
              </a:xfrm>
              <a:prstGeom prst="blockArc">
                <a:avLst>
                  <a:gd name="adj1" fmla="val 13370016"/>
                  <a:gd name="adj2" fmla="val 19069459"/>
                  <a:gd name="adj3" fmla="val 2691"/>
                </a:avLst>
              </a:prstGeom>
              <a:solidFill>
                <a:srgbClr val="50505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rgbClr val="B4009E">
                      <a:lumMod val="40000"/>
                      <a:lumOff val="60000"/>
                    </a:srgbClr>
                  </a:solidFill>
                  <a:latin typeface="Segoe UI"/>
                </a:endParaRPr>
              </a:p>
            </p:txBody>
          </p:sp>
          <p:sp>
            <p:nvSpPr>
              <p:cNvPr id="234" name="Block Arc 233"/>
              <p:cNvSpPr/>
              <p:nvPr/>
            </p:nvSpPr>
            <p:spPr>
              <a:xfrm rot="5400000">
                <a:off x="5073042" y="1395954"/>
                <a:ext cx="4091238" cy="4091238"/>
              </a:xfrm>
              <a:prstGeom prst="blockArc">
                <a:avLst>
                  <a:gd name="adj1" fmla="val 13370016"/>
                  <a:gd name="adj2" fmla="val 19013162"/>
                  <a:gd name="adj3" fmla="val 2933"/>
                </a:avLst>
              </a:prstGeom>
              <a:solidFill>
                <a:srgbClr val="50505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rgbClr val="B4009E">
                      <a:lumMod val="40000"/>
                      <a:lumOff val="60000"/>
                    </a:srgbClr>
                  </a:solidFill>
                  <a:latin typeface="Segoe UI"/>
                </a:endParaRPr>
              </a:p>
            </p:txBody>
          </p:sp>
          <p:sp>
            <p:nvSpPr>
              <p:cNvPr id="235" name="Block Arc 234"/>
              <p:cNvSpPr/>
              <p:nvPr/>
            </p:nvSpPr>
            <p:spPr>
              <a:xfrm rot="5400000">
                <a:off x="3835626" y="163849"/>
                <a:ext cx="6492033" cy="6492031"/>
              </a:xfrm>
              <a:prstGeom prst="blockArc">
                <a:avLst>
                  <a:gd name="adj1" fmla="val 13370016"/>
                  <a:gd name="adj2" fmla="val 19069459"/>
                  <a:gd name="adj3" fmla="val 2691"/>
                </a:avLst>
              </a:prstGeom>
              <a:solidFill>
                <a:srgbClr val="50505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dirty="0">
                  <a:solidFill>
                    <a:srgbClr val="B4009E">
                      <a:lumMod val="40000"/>
                      <a:lumOff val="60000"/>
                    </a:srgbClr>
                  </a:solidFill>
                  <a:latin typeface="Segoe UI"/>
                </a:endParaRPr>
              </a:p>
            </p:txBody>
          </p:sp>
          <p:sp>
            <p:nvSpPr>
              <p:cNvPr id="236" name="Block Arc 235"/>
              <p:cNvSpPr/>
              <p:nvPr/>
            </p:nvSpPr>
            <p:spPr>
              <a:xfrm rot="5400000">
                <a:off x="3307281" y="-371620"/>
                <a:ext cx="7556768" cy="7556766"/>
              </a:xfrm>
              <a:prstGeom prst="blockArc">
                <a:avLst>
                  <a:gd name="adj1" fmla="val 13370016"/>
                  <a:gd name="adj2" fmla="val 19069459"/>
                  <a:gd name="adj3" fmla="val 2691"/>
                </a:avLst>
              </a:prstGeom>
              <a:solidFill>
                <a:srgbClr val="50505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rgbClr val="B4009E">
                      <a:lumMod val="40000"/>
                      <a:lumOff val="60000"/>
                    </a:srgbClr>
                  </a:solidFill>
                  <a:latin typeface="Segoe UI"/>
                </a:endParaRPr>
              </a:p>
            </p:txBody>
          </p:sp>
          <p:sp>
            <p:nvSpPr>
              <p:cNvPr id="237" name="Block Arc 236"/>
              <p:cNvSpPr/>
              <p:nvPr/>
            </p:nvSpPr>
            <p:spPr>
              <a:xfrm rot="5400000">
                <a:off x="2661714" y="-1011956"/>
                <a:ext cx="8870085" cy="8870083"/>
              </a:xfrm>
              <a:prstGeom prst="blockArc">
                <a:avLst>
                  <a:gd name="adj1" fmla="val 13370016"/>
                  <a:gd name="adj2" fmla="val 19069459"/>
                  <a:gd name="adj3" fmla="val 2691"/>
                </a:avLst>
              </a:prstGeom>
              <a:solidFill>
                <a:srgbClr val="50505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rgbClr val="B4009E">
                      <a:lumMod val="40000"/>
                      <a:lumOff val="60000"/>
                    </a:srgbClr>
                  </a:solidFill>
                  <a:latin typeface="Segoe UI"/>
                </a:endParaRPr>
              </a:p>
            </p:txBody>
          </p:sp>
        </p:grpSp>
        <p:sp>
          <p:nvSpPr>
            <p:cNvPr id="224" name="Pie 78"/>
            <p:cNvSpPr/>
            <p:nvPr/>
          </p:nvSpPr>
          <p:spPr>
            <a:xfrm rot="8100000">
              <a:off x="6047899" y="1016455"/>
              <a:ext cx="2988360" cy="2988355"/>
            </a:xfrm>
            <a:prstGeom prst="pie">
              <a:avLst>
                <a:gd name="adj1" fmla="val 10912906"/>
                <a:gd name="adj2" fmla="val 12349708"/>
              </a:avLst>
            </a:prstGeom>
            <a:solidFill>
              <a:srgbClr val="C10E78">
                <a:alpha val="40000"/>
              </a:srgbClr>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rgbClr val="B4009E">
                    <a:lumMod val="40000"/>
                    <a:lumOff val="60000"/>
                  </a:srgbClr>
                </a:solidFill>
                <a:latin typeface="Segoe UI"/>
              </a:endParaRPr>
            </a:p>
          </p:txBody>
        </p:sp>
        <p:sp>
          <p:nvSpPr>
            <p:cNvPr id="225" name="Pie 79"/>
            <p:cNvSpPr/>
            <p:nvPr/>
          </p:nvSpPr>
          <p:spPr>
            <a:xfrm rot="11825569">
              <a:off x="6047899" y="998692"/>
              <a:ext cx="2988360" cy="2988355"/>
            </a:xfrm>
            <a:prstGeom prst="pie">
              <a:avLst>
                <a:gd name="adj1" fmla="val 10941964"/>
                <a:gd name="adj2" fmla="val 12400818"/>
              </a:avLst>
            </a:prstGeom>
            <a:solidFill>
              <a:srgbClr val="C10E78">
                <a:alpha val="40000"/>
              </a:srgbClr>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rgbClr val="B4009E">
                    <a:lumMod val="40000"/>
                    <a:lumOff val="60000"/>
                  </a:srgbClr>
                </a:solidFill>
                <a:latin typeface="Segoe UI"/>
              </a:endParaRPr>
            </a:p>
          </p:txBody>
        </p:sp>
        <p:sp>
          <p:nvSpPr>
            <p:cNvPr id="226" name="Pie 80"/>
            <p:cNvSpPr/>
            <p:nvPr/>
          </p:nvSpPr>
          <p:spPr>
            <a:xfrm rot="10053686">
              <a:off x="6047898" y="1005354"/>
              <a:ext cx="2988360" cy="2988355"/>
            </a:xfrm>
            <a:prstGeom prst="pie">
              <a:avLst>
                <a:gd name="adj1" fmla="val 10702662"/>
                <a:gd name="adj2" fmla="val 12430615"/>
              </a:avLst>
            </a:prstGeom>
            <a:solidFill>
              <a:srgbClr val="C10E78">
                <a:alpha val="40000"/>
              </a:srgbClr>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rgbClr val="B4009E">
                    <a:lumMod val="40000"/>
                    <a:lumOff val="60000"/>
                  </a:srgbClr>
                </a:solidFill>
                <a:latin typeface="Segoe UI"/>
              </a:endParaRPr>
            </a:p>
          </p:txBody>
        </p:sp>
        <p:sp>
          <p:nvSpPr>
            <p:cNvPr id="227" name="Rectangle 226"/>
            <p:cNvSpPr/>
            <p:nvPr/>
          </p:nvSpPr>
          <p:spPr>
            <a:xfrm>
              <a:off x="8447593" y="1561945"/>
              <a:ext cx="863685" cy="518014"/>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defRPr/>
              </a:pPr>
              <a:r>
                <a:rPr lang="en-US" b="1" dirty="0">
                  <a:solidFill>
                    <a:srgbClr val="FFFFFF">
                      <a:lumMod val="65000"/>
                      <a:lumOff val="35000"/>
                    </a:srgbClr>
                  </a:solidFill>
                  <a:latin typeface="Segoe UI Light" panose="020B0502040204020203" pitchFamily="34" charset="0"/>
                  <a:cs typeface="Segoe UI Light" panose="020B0502040204020203" pitchFamily="34" charset="0"/>
                </a:rPr>
                <a:t>mobile</a:t>
              </a:r>
            </a:p>
          </p:txBody>
        </p:sp>
        <p:sp>
          <p:nvSpPr>
            <p:cNvPr id="228" name="Rectangle 227"/>
            <p:cNvSpPr/>
            <p:nvPr/>
          </p:nvSpPr>
          <p:spPr>
            <a:xfrm>
              <a:off x="8447593" y="2211868"/>
              <a:ext cx="745954" cy="518014"/>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defRPr/>
              </a:pPr>
              <a:r>
                <a:rPr lang="en-US" b="1" dirty="0">
                  <a:solidFill>
                    <a:srgbClr val="FFFFFF">
                      <a:lumMod val="65000"/>
                      <a:lumOff val="35000"/>
                    </a:srgbClr>
                  </a:solidFill>
                  <a:latin typeface="Segoe UI Light" panose="020B0502040204020203" pitchFamily="34" charset="0"/>
                  <a:cs typeface="Segoe UI Light" panose="020B0502040204020203" pitchFamily="34" charset="0"/>
                </a:rPr>
                <a:t>tablet</a:t>
              </a:r>
            </a:p>
          </p:txBody>
        </p:sp>
        <p:sp>
          <p:nvSpPr>
            <p:cNvPr id="229" name="Rectangle 228"/>
            <p:cNvSpPr/>
            <p:nvPr/>
          </p:nvSpPr>
          <p:spPr>
            <a:xfrm>
              <a:off x="8447593" y="2938010"/>
              <a:ext cx="1089706" cy="51801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defRPr/>
              </a:pPr>
              <a:r>
                <a:rPr lang="en-US" b="1" dirty="0">
                  <a:solidFill>
                    <a:srgbClr val="FFFFFF">
                      <a:lumMod val="65000"/>
                      <a:lumOff val="35000"/>
                    </a:srgbClr>
                  </a:solidFill>
                  <a:latin typeface="Segoe UI Light" panose="020B0502040204020203" pitchFamily="34" charset="0"/>
                  <a:cs typeface="Segoe UI Light" panose="020B0502040204020203" pitchFamily="34" charset="0"/>
                </a:rPr>
                <a:t>desktop</a:t>
              </a:r>
            </a:p>
          </p:txBody>
        </p:sp>
      </p:grpSp>
      <p:grpSp>
        <p:nvGrpSpPr>
          <p:cNvPr id="205" name="Group 204"/>
          <p:cNvGrpSpPr/>
          <p:nvPr/>
        </p:nvGrpSpPr>
        <p:grpSpPr>
          <a:xfrm>
            <a:off x="2220712" y="1270368"/>
            <a:ext cx="3107135" cy="2267761"/>
            <a:chOff x="3421168" y="1516061"/>
            <a:chExt cx="3169440" cy="2313234"/>
          </a:xfrm>
        </p:grpSpPr>
        <p:grpSp>
          <p:nvGrpSpPr>
            <p:cNvPr id="213" name="Group 212"/>
            <p:cNvGrpSpPr/>
            <p:nvPr/>
          </p:nvGrpSpPr>
          <p:grpSpPr>
            <a:xfrm>
              <a:off x="4945167" y="1517006"/>
              <a:ext cx="1645441" cy="2312289"/>
              <a:chOff x="4618036" y="1593206"/>
              <a:chExt cx="2084498" cy="2312289"/>
            </a:xfrm>
          </p:grpSpPr>
          <p:sp>
            <p:nvSpPr>
              <p:cNvPr id="220" name="Flowchart: Manual Operation 18"/>
              <p:cNvSpPr/>
              <p:nvPr/>
            </p:nvSpPr>
            <p:spPr>
              <a:xfrm rot="16200000">
                <a:off x="5335803" y="1717148"/>
                <a:ext cx="657383" cy="207607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389 w 10000"/>
                  <a:gd name="connsiteY2" fmla="*/ 8107 h 10000"/>
                  <a:gd name="connsiteX3" fmla="*/ 8000 w 10000"/>
                  <a:gd name="connsiteY3" fmla="*/ 10000 h 10000"/>
                  <a:gd name="connsiteX4" fmla="*/ 2000 w 10000"/>
                  <a:gd name="connsiteY4" fmla="*/ 10000 h 10000"/>
                  <a:gd name="connsiteX5" fmla="*/ 0 w 10000"/>
                  <a:gd name="connsiteY5" fmla="*/ 0 h 10000"/>
                  <a:gd name="connsiteX0" fmla="*/ 0 w 10000"/>
                  <a:gd name="connsiteY0" fmla="*/ 0 h 10014"/>
                  <a:gd name="connsiteX1" fmla="*/ 10000 w 10000"/>
                  <a:gd name="connsiteY1" fmla="*/ 0 h 10014"/>
                  <a:gd name="connsiteX2" fmla="*/ 8389 w 10000"/>
                  <a:gd name="connsiteY2" fmla="*/ 8107 h 10014"/>
                  <a:gd name="connsiteX3" fmla="*/ 8000 w 10000"/>
                  <a:gd name="connsiteY3" fmla="*/ 10000 h 10014"/>
                  <a:gd name="connsiteX4" fmla="*/ 5318 w 10000"/>
                  <a:gd name="connsiteY4" fmla="*/ 10014 h 10014"/>
                  <a:gd name="connsiteX5" fmla="*/ 2000 w 10000"/>
                  <a:gd name="connsiteY5" fmla="*/ 10000 h 10014"/>
                  <a:gd name="connsiteX6" fmla="*/ 0 w 10000"/>
                  <a:gd name="connsiteY6" fmla="*/ 0 h 10014"/>
                  <a:gd name="connsiteX0" fmla="*/ 0 w 10000"/>
                  <a:gd name="connsiteY0" fmla="*/ 0 h 10014"/>
                  <a:gd name="connsiteX1" fmla="*/ 10000 w 10000"/>
                  <a:gd name="connsiteY1" fmla="*/ 0 h 10014"/>
                  <a:gd name="connsiteX2" fmla="*/ 8389 w 10000"/>
                  <a:gd name="connsiteY2" fmla="*/ 8107 h 10014"/>
                  <a:gd name="connsiteX3" fmla="*/ 8000 w 10000"/>
                  <a:gd name="connsiteY3" fmla="*/ 10000 h 10014"/>
                  <a:gd name="connsiteX4" fmla="*/ 5318 w 10000"/>
                  <a:gd name="connsiteY4" fmla="*/ 10014 h 10014"/>
                  <a:gd name="connsiteX5" fmla="*/ 2000 w 10000"/>
                  <a:gd name="connsiteY5" fmla="*/ 10000 h 10014"/>
                  <a:gd name="connsiteX6" fmla="*/ 1613 w 10000"/>
                  <a:gd name="connsiteY6" fmla="*/ 8012 h 10014"/>
                  <a:gd name="connsiteX7" fmla="*/ 0 w 10000"/>
                  <a:gd name="connsiteY7" fmla="*/ 0 h 10014"/>
                  <a:gd name="connsiteX0" fmla="*/ 0 w 10000"/>
                  <a:gd name="connsiteY0" fmla="*/ 0 h 10014"/>
                  <a:gd name="connsiteX1" fmla="*/ 10000 w 10000"/>
                  <a:gd name="connsiteY1" fmla="*/ 0 h 10014"/>
                  <a:gd name="connsiteX2" fmla="*/ 8389 w 10000"/>
                  <a:gd name="connsiteY2" fmla="*/ 8107 h 10014"/>
                  <a:gd name="connsiteX3" fmla="*/ 8000 w 10000"/>
                  <a:gd name="connsiteY3" fmla="*/ 10000 h 10014"/>
                  <a:gd name="connsiteX4" fmla="*/ 5318 w 10000"/>
                  <a:gd name="connsiteY4" fmla="*/ 10014 h 10014"/>
                  <a:gd name="connsiteX5" fmla="*/ 1613 w 10000"/>
                  <a:gd name="connsiteY5" fmla="*/ 8012 h 10014"/>
                  <a:gd name="connsiteX6" fmla="*/ 0 w 10000"/>
                  <a:gd name="connsiteY6" fmla="*/ 0 h 10014"/>
                  <a:gd name="connsiteX0" fmla="*/ 0 w 10000"/>
                  <a:gd name="connsiteY0" fmla="*/ 0 h 10014"/>
                  <a:gd name="connsiteX1" fmla="*/ 10000 w 10000"/>
                  <a:gd name="connsiteY1" fmla="*/ 0 h 10014"/>
                  <a:gd name="connsiteX2" fmla="*/ 8389 w 10000"/>
                  <a:gd name="connsiteY2" fmla="*/ 8107 h 10014"/>
                  <a:gd name="connsiteX3" fmla="*/ 5318 w 10000"/>
                  <a:gd name="connsiteY3" fmla="*/ 10014 h 10014"/>
                  <a:gd name="connsiteX4" fmla="*/ 1613 w 10000"/>
                  <a:gd name="connsiteY4" fmla="*/ 8012 h 10014"/>
                  <a:gd name="connsiteX5" fmla="*/ 0 w 10000"/>
                  <a:gd name="connsiteY5" fmla="*/ 0 h 10014"/>
                  <a:gd name="connsiteX0" fmla="*/ 0 w 10000"/>
                  <a:gd name="connsiteY0" fmla="*/ 0 h 10014"/>
                  <a:gd name="connsiteX1" fmla="*/ 10000 w 10000"/>
                  <a:gd name="connsiteY1" fmla="*/ 0 h 10014"/>
                  <a:gd name="connsiteX2" fmla="*/ 8389 w 10000"/>
                  <a:gd name="connsiteY2" fmla="*/ 8107 h 10014"/>
                  <a:gd name="connsiteX3" fmla="*/ 5318 w 10000"/>
                  <a:gd name="connsiteY3" fmla="*/ 10014 h 10014"/>
                  <a:gd name="connsiteX4" fmla="*/ 1613 w 10000"/>
                  <a:gd name="connsiteY4" fmla="*/ 8012 h 10014"/>
                  <a:gd name="connsiteX5" fmla="*/ 0 w 10000"/>
                  <a:gd name="connsiteY5" fmla="*/ 0 h 10014"/>
                  <a:gd name="connsiteX0" fmla="*/ 0 w 10000"/>
                  <a:gd name="connsiteY0" fmla="*/ 0 h 10014"/>
                  <a:gd name="connsiteX1" fmla="*/ 10000 w 10000"/>
                  <a:gd name="connsiteY1" fmla="*/ 0 h 10014"/>
                  <a:gd name="connsiteX2" fmla="*/ 8389 w 10000"/>
                  <a:gd name="connsiteY2" fmla="*/ 8107 h 10014"/>
                  <a:gd name="connsiteX3" fmla="*/ 5318 w 10000"/>
                  <a:gd name="connsiteY3" fmla="*/ 10014 h 10014"/>
                  <a:gd name="connsiteX4" fmla="*/ 1613 w 10000"/>
                  <a:gd name="connsiteY4" fmla="*/ 8012 h 10014"/>
                  <a:gd name="connsiteX5" fmla="*/ 0 w 10000"/>
                  <a:gd name="connsiteY5" fmla="*/ 0 h 10014"/>
                  <a:gd name="connsiteX0" fmla="*/ 0 w 10000"/>
                  <a:gd name="connsiteY0" fmla="*/ 0 h 10014"/>
                  <a:gd name="connsiteX1" fmla="*/ 10000 w 10000"/>
                  <a:gd name="connsiteY1" fmla="*/ 0 h 10014"/>
                  <a:gd name="connsiteX2" fmla="*/ 8389 w 10000"/>
                  <a:gd name="connsiteY2" fmla="*/ 8107 h 10014"/>
                  <a:gd name="connsiteX3" fmla="*/ 5318 w 10000"/>
                  <a:gd name="connsiteY3" fmla="*/ 10014 h 10014"/>
                  <a:gd name="connsiteX4" fmla="*/ 1613 w 10000"/>
                  <a:gd name="connsiteY4" fmla="*/ 8012 h 10014"/>
                  <a:gd name="connsiteX5" fmla="*/ 0 w 10000"/>
                  <a:gd name="connsiteY5" fmla="*/ 0 h 10014"/>
                  <a:gd name="connsiteX0" fmla="*/ 0 w 10000"/>
                  <a:gd name="connsiteY0" fmla="*/ 0 h 10051"/>
                  <a:gd name="connsiteX1" fmla="*/ 10000 w 10000"/>
                  <a:gd name="connsiteY1" fmla="*/ 0 h 10051"/>
                  <a:gd name="connsiteX2" fmla="*/ 8389 w 10000"/>
                  <a:gd name="connsiteY2" fmla="*/ 8107 h 10051"/>
                  <a:gd name="connsiteX3" fmla="*/ 5107 w 10000"/>
                  <a:gd name="connsiteY3" fmla="*/ 10051 h 10051"/>
                  <a:gd name="connsiteX4" fmla="*/ 1613 w 10000"/>
                  <a:gd name="connsiteY4" fmla="*/ 8012 h 10051"/>
                  <a:gd name="connsiteX5" fmla="*/ 0 w 10000"/>
                  <a:gd name="connsiteY5" fmla="*/ 0 h 10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51">
                    <a:moveTo>
                      <a:pt x="0" y="0"/>
                    </a:moveTo>
                    <a:lnTo>
                      <a:pt x="10000" y="0"/>
                    </a:lnTo>
                    <a:lnTo>
                      <a:pt x="8389" y="8107"/>
                    </a:lnTo>
                    <a:cubicBezTo>
                      <a:pt x="6085" y="9441"/>
                      <a:pt x="6642" y="9097"/>
                      <a:pt x="5107" y="10051"/>
                    </a:cubicBezTo>
                    <a:lnTo>
                      <a:pt x="1613" y="8012"/>
                    </a:lnTo>
                    <a:lnTo>
                      <a:pt x="0" y="0"/>
                    </a:lnTo>
                    <a:close/>
                  </a:path>
                </a:pathLst>
              </a:custGeom>
              <a:solidFill>
                <a:srgbClr val="0072C6">
                  <a:alpha val="25000"/>
                </a:srgbClr>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rgbClr val="FFFFFF"/>
                  </a:solidFill>
                  <a:latin typeface="Segoe UI"/>
                </a:endParaRPr>
              </a:p>
            </p:txBody>
          </p:sp>
          <p:sp>
            <p:nvSpPr>
              <p:cNvPr id="221" name="Diagonal Stripe 220"/>
              <p:cNvSpPr/>
              <p:nvPr/>
            </p:nvSpPr>
            <p:spPr>
              <a:xfrm flipV="1">
                <a:off x="4618656" y="1593206"/>
                <a:ext cx="2075646" cy="1156710"/>
              </a:xfrm>
              <a:prstGeom prst="diagStripe">
                <a:avLst>
                  <a:gd name="adj" fmla="val 42866"/>
                </a:avLst>
              </a:prstGeom>
              <a:solidFill>
                <a:schemeClr val="tx2">
                  <a:lumMod val="75000"/>
                  <a:alpha val="25000"/>
                </a:schemeClr>
              </a:solidFill>
              <a:ln w="10795" cap="flat" cmpd="sng" algn="ctr">
                <a:noFill/>
                <a:prstDash val="solid"/>
              </a:ln>
              <a:effectLst/>
            </p:spPr>
            <p:txBody>
              <a:bodyPr rtlCol="0" anchor="ctr"/>
              <a:lstStyle/>
              <a:p>
                <a:pPr algn="ctr"/>
                <a:endParaRPr lang="en-US">
                  <a:solidFill>
                    <a:srgbClr val="FFFFFF"/>
                  </a:solidFill>
                  <a:latin typeface="Segoe UI"/>
                </a:endParaRPr>
              </a:p>
            </p:txBody>
          </p:sp>
          <p:sp>
            <p:nvSpPr>
              <p:cNvPr id="222" name="Diagonal Stripe 221"/>
              <p:cNvSpPr/>
              <p:nvPr/>
            </p:nvSpPr>
            <p:spPr>
              <a:xfrm>
                <a:off x="4618036" y="2748799"/>
                <a:ext cx="2075646" cy="1156696"/>
              </a:xfrm>
              <a:prstGeom prst="diagStripe">
                <a:avLst>
                  <a:gd name="adj" fmla="val 42866"/>
                </a:avLst>
              </a:prstGeom>
              <a:solidFill>
                <a:schemeClr val="tx2">
                  <a:lumMod val="75000"/>
                  <a:alpha val="25000"/>
                </a:schemeClr>
              </a:solidFill>
              <a:ln w="10795" cap="flat" cmpd="sng" algn="ctr">
                <a:noFill/>
                <a:prstDash val="solid"/>
              </a:ln>
              <a:effectLst/>
            </p:spPr>
            <p:txBody>
              <a:bodyPr rtlCol="0" anchor="ctr"/>
              <a:lstStyle/>
              <a:p>
                <a:pPr algn="ctr"/>
                <a:endParaRPr lang="en-US">
                  <a:solidFill>
                    <a:srgbClr val="FFFFFF"/>
                  </a:solidFill>
                  <a:latin typeface="Segoe UI"/>
                </a:endParaRPr>
              </a:p>
            </p:txBody>
          </p:sp>
        </p:grpSp>
        <p:sp>
          <p:nvSpPr>
            <p:cNvPr id="214" name="Rectangle 213"/>
            <p:cNvSpPr/>
            <p:nvPr/>
          </p:nvSpPr>
          <p:spPr>
            <a:xfrm>
              <a:off x="3582904" y="1516061"/>
              <a:ext cx="1362882" cy="665501"/>
            </a:xfrm>
            <a:prstGeom prst="rect">
              <a:avLst/>
            </a:prstGeom>
            <a:solidFill>
              <a:schemeClr val="tx2">
                <a:lumMod val="75000"/>
                <a:alpha val="23000"/>
              </a:schemeClr>
            </a:solidFill>
            <a:ln w="10795" cap="flat" cmpd="sng" algn="ctr">
              <a:noFill/>
              <a:prstDash val="solid"/>
            </a:ln>
            <a:effectLst/>
          </p:spPr>
          <p:txBody>
            <a:bodyPr rtlCol="0" anchor="ctr"/>
            <a:lstStyle/>
            <a:p>
              <a:pPr algn="ctr"/>
              <a:endParaRPr lang="en-US">
                <a:solidFill>
                  <a:srgbClr val="FFFFFF"/>
                </a:solidFill>
                <a:latin typeface="Segoe UI"/>
              </a:endParaRPr>
            </a:p>
          </p:txBody>
        </p:sp>
        <p:sp>
          <p:nvSpPr>
            <p:cNvPr id="215" name="Rectangle 214"/>
            <p:cNvSpPr/>
            <p:nvPr/>
          </p:nvSpPr>
          <p:spPr>
            <a:xfrm>
              <a:off x="3589255" y="2347121"/>
              <a:ext cx="1362883" cy="652967"/>
            </a:xfrm>
            <a:prstGeom prst="rect">
              <a:avLst/>
            </a:prstGeom>
            <a:solidFill>
              <a:schemeClr val="tx2">
                <a:lumMod val="75000"/>
                <a:alpha val="23000"/>
              </a:schemeClr>
            </a:solidFill>
            <a:ln w="10795" cap="flat" cmpd="sng" algn="ctr">
              <a:noFill/>
              <a:prstDash val="solid"/>
            </a:ln>
            <a:effectLst/>
          </p:spPr>
          <p:txBody>
            <a:bodyPr rtlCol="0" anchor="ctr"/>
            <a:lstStyle/>
            <a:p>
              <a:pPr algn="ctr"/>
              <a:endParaRPr lang="en-US">
                <a:solidFill>
                  <a:srgbClr val="FFFFFF"/>
                </a:solidFill>
                <a:latin typeface="Segoe UI"/>
              </a:endParaRPr>
            </a:p>
          </p:txBody>
        </p:sp>
        <p:sp>
          <p:nvSpPr>
            <p:cNvPr id="216" name="Rectangle 215"/>
            <p:cNvSpPr/>
            <p:nvPr/>
          </p:nvSpPr>
          <p:spPr>
            <a:xfrm>
              <a:off x="3579972" y="3173412"/>
              <a:ext cx="1362883" cy="652967"/>
            </a:xfrm>
            <a:prstGeom prst="rect">
              <a:avLst/>
            </a:prstGeom>
            <a:solidFill>
              <a:schemeClr val="tx2">
                <a:lumMod val="75000"/>
                <a:alpha val="23000"/>
              </a:schemeClr>
            </a:solidFill>
            <a:ln w="10795" cap="flat" cmpd="sng" algn="ctr">
              <a:noFill/>
              <a:prstDash val="solid"/>
            </a:ln>
            <a:effectLst/>
          </p:spPr>
          <p:txBody>
            <a:bodyPr rtlCol="0" anchor="ctr"/>
            <a:lstStyle/>
            <a:p>
              <a:pPr algn="ctr"/>
              <a:endParaRPr lang="en-US">
                <a:solidFill>
                  <a:srgbClr val="FFFFFF"/>
                </a:solidFill>
                <a:latin typeface="Segoe UI"/>
              </a:endParaRPr>
            </a:p>
          </p:txBody>
        </p:sp>
        <p:sp>
          <p:nvSpPr>
            <p:cNvPr id="217" name="Rectangle 216"/>
            <p:cNvSpPr/>
            <p:nvPr/>
          </p:nvSpPr>
          <p:spPr>
            <a:xfrm>
              <a:off x="3421168" y="1592262"/>
              <a:ext cx="1193984" cy="518014"/>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defRPr/>
              </a:pPr>
              <a:r>
                <a:rPr lang="en-US" b="1" dirty="0">
                  <a:solidFill>
                    <a:srgbClr val="FFFFFF">
                      <a:lumMod val="65000"/>
                      <a:lumOff val="35000"/>
                    </a:srgbClr>
                  </a:solidFill>
                  <a:latin typeface="Segoe UI Light" panose="020B0502040204020203" pitchFamily="34" charset="0"/>
                  <a:cs typeface="Segoe UI Light" panose="020B0502040204020203" pitchFamily="34" charset="0"/>
                </a:rPr>
                <a:t>SaaS apps</a:t>
              </a:r>
            </a:p>
          </p:txBody>
        </p:sp>
        <p:sp>
          <p:nvSpPr>
            <p:cNvPr id="218" name="Rectangle 217"/>
            <p:cNvSpPr/>
            <p:nvPr/>
          </p:nvSpPr>
          <p:spPr>
            <a:xfrm>
              <a:off x="3421168" y="2425997"/>
              <a:ext cx="2012866" cy="518014"/>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defRPr/>
              </a:pPr>
              <a:r>
                <a:rPr lang="en-US" b="1" dirty="0">
                  <a:solidFill>
                    <a:srgbClr val="FFFFFF">
                      <a:lumMod val="65000"/>
                      <a:lumOff val="35000"/>
                    </a:srgbClr>
                  </a:solidFill>
                  <a:latin typeface="Segoe UI Light" panose="020B0502040204020203" pitchFamily="34" charset="0"/>
                  <a:cs typeface="Segoe UI Light" panose="020B0502040204020203" pitchFamily="34" charset="0"/>
                </a:rPr>
                <a:t>enterprise services</a:t>
              </a:r>
            </a:p>
          </p:txBody>
        </p:sp>
        <p:sp>
          <p:nvSpPr>
            <p:cNvPr id="219" name="Rectangle 218"/>
            <p:cNvSpPr/>
            <p:nvPr/>
          </p:nvSpPr>
          <p:spPr>
            <a:xfrm>
              <a:off x="3421168" y="3235343"/>
              <a:ext cx="1949406" cy="51801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defRPr/>
              </a:pPr>
              <a:r>
                <a:rPr lang="en-US" b="1" dirty="0">
                  <a:solidFill>
                    <a:srgbClr val="FFFFFF">
                      <a:lumMod val="65000"/>
                      <a:lumOff val="35000"/>
                    </a:srgbClr>
                  </a:solidFill>
                  <a:latin typeface="Segoe UI Light" panose="020B0502040204020203" pitchFamily="34" charset="0"/>
                  <a:cs typeface="Segoe UI Light" panose="020B0502040204020203" pitchFamily="34" charset="0"/>
                </a:rPr>
                <a:t>business systems</a:t>
              </a:r>
            </a:p>
          </p:txBody>
        </p:sp>
      </p:grpSp>
      <p:grpSp>
        <p:nvGrpSpPr>
          <p:cNvPr id="206" name="Group 205"/>
          <p:cNvGrpSpPr/>
          <p:nvPr/>
        </p:nvGrpSpPr>
        <p:grpSpPr>
          <a:xfrm>
            <a:off x="4477154" y="1556651"/>
            <a:ext cx="3884293" cy="1716847"/>
            <a:chOff x="4481326" y="1629833"/>
            <a:chExt cx="3962180" cy="1751273"/>
          </a:xfrm>
        </p:grpSpPr>
        <p:sp>
          <p:nvSpPr>
            <p:cNvPr id="208" name="Pie 10"/>
            <p:cNvSpPr/>
            <p:nvPr/>
          </p:nvSpPr>
          <p:spPr>
            <a:xfrm rot="8100000">
              <a:off x="6692233" y="1629833"/>
              <a:ext cx="1751273" cy="1751273"/>
            </a:xfrm>
            <a:prstGeom prst="pie">
              <a:avLst>
                <a:gd name="adj1" fmla="val 10477102"/>
                <a:gd name="adj2" fmla="val 16619388"/>
              </a:avLst>
            </a:prstGeom>
            <a:solidFill>
              <a:srgbClr val="505050"/>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rgbClr val="FFFFFF"/>
                </a:solidFill>
                <a:latin typeface="Segoe UI"/>
              </a:endParaRPr>
            </a:p>
          </p:txBody>
        </p:sp>
        <p:grpSp>
          <p:nvGrpSpPr>
            <p:cNvPr id="209" name="Group 208"/>
            <p:cNvGrpSpPr/>
            <p:nvPr/>
          </p:nvGrpSpPr>
          <p:grpSpPr>
            <a:xfrm>
              <a:off x="4481326" y="1725667"/>
              <a:ext cx="3869447" cy="1581196"/>
              <a:chOff x="4481326" y="1725667"/>
              <a:chExt cx="3869447" cy="1581196"/>
            </a:xfrm>
          </p:grpSpPr>
          <p:sp>
            <p:nvSpPr>
              <p:cNvPr id="210" name="Pie 11"/>
              <p:cNvSpPr/>
              <p:nvPr/>
            </p:nvSpPr>
            <p:spPr>
              <a:xfrm rot="8100000">
                <a:off x="6769575" y="1725667"/>
                <a:ext cx="1581198" cy="1581196"/>
              </a:xfrm>
              <a:prstGeom prst="pie">
                <a:avLst>
                  <a:gd name="adj1" fmla="val 10855110"/>
                  <a:gd name="adj2" fmla="val 16146854"/>
                </a:avLst>
              </a:prstGeom>
              <a:solidFill>
                <a:schemeClr val="tx2">
                  <a:lumMod val="75000"/>
                </a:schemeClr>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rgbClr val="FFFFFF"/>
                  </a:solidFill>
                  <a:latin typeface="Segoe UI"/>
                </a:endParaRPr>
              </a:p>
            </p:txBody>
          </p:sp>
          <p:sp>
            <p:nvSpPr>
              <p:cNvPr id="211" name="Rounded Rectangle 13"/>
              <p:cNvSpPr/>
              <p:nvPr/>
            </p:nvSpPr>
            <p:spPr>
              <a:xfrm>
                <a:off x="4481326" y="2252210"/>
                <a:ext cx="3413311" cy="495572"/>
              </a:xfrm>
              <a:prstGeom prst="roundRect">
                <a:avLst>
                  <a:gd name="adj" fmla="val 0"/>
                </a:avLst>
              </a:prstGeom>
              <a:solidFill>
                <a:schemeClr val="tx2">
                  <a:lumMod val="75000"/>
                </a:schemeClr>
              </a:solidFill>
              <a:ln w="952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Segoe UI"/>
                </a:endParaRPr>
              </a:p>
            </p:txBody>
          </p:sp>
          <p:sp>
            <p:nvSpPr>
              <p:cNvPr id="212" name="Isosceles Triangle 211"/>
              <p:cNvSpPr/>
              <p:nvPr/>
            </p:nvSpPr>
            <p:spPr>
              <a:xfrm rot="16200000">
                <a:off x="6965313" y="1895722"/>
                <a:ext cx="1081652" cy="1241085"/>
              </a:xfrm>
              <a:prstGeom prst="triangle">
                <a:avLst/>
              </a:prstGeom>
              <a:solidFill>
                <a:schemeClr val="tx2">
                  <a:lumMod val="75000"/>
                </a:schemeClr>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sz="1765">
                  <a:solidFill>
                    <a:srgbClr val="FFFFFF"/>
                  </a:solidFill>
                  <a:latin typeface="Segoe UI"/>
                </a:endParaRPr>
              </a:p>
            </p:txBody>
          </p:sp>
        </p:grpSp>
      </p:grpSp>
      <p:pic>
        <p:nvPicPr>
          <p:cNvPr id="207" name="Picture 206"/>
          <p:cNvPicPr>
            <a:picLocks noChangeAspect="1"/>
          </p:cNvPicPr>
          <p:nvPr/>
        </p:nvPicPr>
        <p:blipFill>
          <a:blip r:embed="rId3"/>
          <a:stretch>
            <a:fillRect/>
          </a:stretch>
        </p:blipFill>
        <p:spPr>
          <a:xfrm>
            <a:off x="5696133" y="1912725"/>
            <a:ext cx="1034798" cy="1034798"/>
          </a:xfrm>
          <a:prstGeom prst="rect">
            <a:avLst/>
          </a:prstGeom>
        </p:spPr>
      </p:pic>
    </p:spTree>
    <p:extLst>
      <p:ext uri="{BB962C8B-B14F-4D97-AF65-F5344CB8AC3E}">
        <p14:creationId xmlns:p14="http://schemas.microsoft.com/office/powerpoint/2010/main" val="190153726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53" presetClass="entr" presetSubtype="16" fill="hold" nodeType="after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p:cTn id="12" dur="250" fill="hold"/>
                                        <p:tgtEl>
                                          <p:spTgt spid="26"/>
                                        </p:tgtEl>
                                        <p:attrNameLst>
                                          <p:attrName>ppt_w</p:attrName>
                                        </p:attrNameLst>
                                      </p:cBhvr>
                                      <p:tavLst>
                                        <p:tav tm="0">
                                          <p:val>
                                            <p:fltVal val="0"/>
                                          </p:val>
                                        </p:tav>
                                        <p:tav tm="100000">
                                          <p:val>
                                            <p:strVal val="#ppt_w"/>
                                          </p:val>
                                        </p:tav>
                                      </p:tavLst>
                                    </p:anim>
                                    <p:anim calcmode="lin" valueType="num">
                                      <p:cBhvr>
                                        <p:cTn id="13" dur="250" fill="hold"/>
                                        <p:tgtEl>
                                          <p:spTgt spid="26"/>
                                        </p:tgtEl>
                                        <p:attrNameLst>
                                          <p:attrName>ppt_h</p:attrName>
                                        </p:attrNameLst>
                                      </p:cBhvr>
                                      <p:tavLst>
                                        <p:tav tm="0">
                                          <p:val>
                                            <p:fltVal val="0"/>
                                          </p:val>
                                        </p:tav>
                                        <p:tav tm="100000">
                                          <p:val>
                                            <p:strVal val="#ppt_h"/>
                                          </p:val>
                                        </p:tav>
                                      </p:tavLst>
                                    </p:anim>
                                    <p:animEffect transition="in" filter="fade">
                                      <p:cBhvr>
                                        <p:cTn id="14" dur="250"/>
                                        <p:tgtEl>
                                          <p:spTgt spid="26"/>
                                        </p:tgtEl>
                                      </p:cBhvr>
                                    </p:animEffect>
                                  </p:childTnLst>
                                </p:cTn>
                              </p:par>
                            </p:childTnLst>
                          </p:cTn>
                        </p:par>
                        <p:par>
                          <p:cTn id="15" fill="hold">
                            <p:stCondLst>
                              <p:cond delay="750"/>
                            </p:stCondLst>
                            <p:childTnLst>
                              <p:par>
                                <p:cTn id="16" presetID="2" presetClass="entr" presetSubtype="4" decel="100000" fill="hold" grpId="0" nodeType="afterEffect">
                                  <p:stCondLst>
                                    <p:cond delay="0"/>
                                  </p:stCondLst>
                                  <p:childTnLst>
                                    <p:set>
                                      <p:cBhvr>
                                        <p:cTn id="17" dur="1" fill="hold">
                                          <p:stCondLst>
                                            <p:cond delay="0"/>
                                          </p:stCondLst>
                                        </p:cTn>
                                        <p:tgtEl>
                                          <p:spTgt spid="53"/>
                                        </p:tgtEl>
                                        <p:attrNameLst>
                                          <p:attrName>style.visibility</p:attrName>
                                        </p:attrNameLst>
                                      </p:cBhvr>
                                      <p:to>
                                        <p:strVal val="visible"/>
                                      </p:to>
                                    </p:set>
                                    <p:anim calcmode="lin" valueType="num">
                                      <p:cBhvr additive="base">
                                        <p:cTn id="18" dur="500" fill="hold"/>
                                        <p:tgtEl>
                                          <p:spTgt spid="53"/>
                                        </p:tgtEl>
                                        <p:attrNameLst>
                                          <p:attrName>ppt_x</p:attrName>
                                        </p:attrNameLst>
                                      </p:cBhvr>
                                      <p:tavLst>
                                        <p:tav tm="0">
                                          <p:val>
                                            <p:strVal val="#ppt_x"/>
                                          </p:val>
                                        </p:tav>
                                        <p:tav tm="100000">
                                          <p:val>
                                            <p:strVal val="#ppt_x"/>
                                          </p:val>
                                        </p:tav>
                                      </p:tavLst>
                                    </p:anim>
                                    <p:anim calcmode="lin" valueType="num">
                                      <p:cBhvr additive="base">
                                        <p:cTn id="19" dur="500" fill="hold"/>
                                        <p:tgtEl>
                                          <p:spTgt spid="53"/>
                                        </p:tgtEl>
                                        <p:attrNameLst>
                                          <p:attrName>ppt_y</p:attrName>
                                        </p:attrNameLst>
                                      </p:cBhvr>
                                      <p:tavLst>
                                        <p:tav tm="0">
                                          <p:val>
                                            <p:strVal val="1+#ppt_h/2"/>
                                          </p:val>
                                        </p:tav>
                                        <p:tav tm="100000">
                                          <p:val>
                                            <p:strVal val="#ppt_y"/>
                                          </p:val>
                                        </p:tav>
                                      </p:tavLst>
                                    </p:anim>
                                  </p:childTnLst>
                                </p:cTn>
                              </p:par>
                            </p:childTnLst>
                          </p:cTn>
                        </p:par>
                        <p:par>
                          <p:cTn id="20" fill="hold">
                            <p:stCondLst>
                              <p:cond delay="1250"/>
                            </p:stCondLst>
                            <p:childTnLst>
                              <p:par>
                                <p:cTn id="21" presetID="53" presetClass="entr" presetSubtype="16" fill="hold" nodeType="afterEffect">
                                  <p:stCondLst>
                                    <p:cond delay="0"/>
                                  </p:stCondLst>
                                  <p:childTnLst>
                                    <p:set>
                                      <p:cBhvr>
                                        <p:cTn id="22" dur="1" fill="hold">
                                          <p:stCondLst>
                                            <p:cond delay="0"/>
                                          </p:stCondLst>
                                        </p:cTn>
                                        <p:tgtEl>
                                          <p:spTgt spid="33"/>
                                        </p:tgtEl>
                                        <p:attrNameLst>
                                          <p:attrName>style.visibility</p:attrName>
                                        </p:attrNameLst>
                                      </p:cBhvr>
                                      <p:to>
                                        <p:strVal val="visible"/>
                                      </p:to>
                                    </p:set>
                                    <p:anim calcmode="lin" valueType="num">
                                      <p:cBhvr>
                                        <p:cTn id="23" dur="250" fill="hold"/>
                                        <p:tgtEl>
                                          <p:spTgt spid="33"/>
                                        </p:tgtEl>
                                        <p:attrNameLst>
                                          <p:attrName>ppt_w</p:attrName>
                                        </p:attrNameLst>
                                      </p:cBhvr>
                                      <p:tavLst>
                                        <p:tav tm="0">
                                          <p:val>
                                            <p:fltVal val="0"/>
                                          </p:val>
                                        </p:tav>
                                        <p:tav tm="100000">
                                          <p:val>
                                            <p:strVal val="#ppt_w"/>
                                          </p:val>
                                        </p:tav>
                                      </p:tavLst>
                                    </p:anim>
                                    <p:anim calcmode="lin" valueType="num">
                                      <p:cBhvr>
                                        <p:cTn id="24" dur="250" fill="hold"/>
                                        <p:tgtEl>
                                          <p:spTgt spid="33"/>
                                        </p:tgtEl>
                                        <p:attrNameLst>
                                          <p:attrName>ppt_h</p:attrName>
                                        </p:attrNameLst>
                                      </p:cBhvr>
                                      <p:tavLst>
                                        <p:tav tm="0">
                                          <p:val>
                                            <p:fltVal val="0"/>
                                          </p:val>
                                        </p:tav>
                                        <p:tav tm="100000">
                                          <p:val>
                                            <p:strVal val="#ppt_h"/>
                                          </p:val>
                                        </p:tav>
                                      </p:tavLst>
                                    </p:anim>
                                    <p:animEffect transition="in" filter="fade">
                                      <p:cBhvr>
                                        <p:cTn id="25" dur="250"/>
                                        <p:tgtEl>
                                          <p:spTgt spid="33"/>
                                        </p:tgtEl>
                                      </p:cBhvr>
                                    </p:animEffect>
                                  </p:childTnLst>
                                </p:cTn>
                              </p:par>
                            </p:childTnLst>
                          </p:cTn>
                        </p:par>
                        <p:par>
                          <p:cTn id="26" fill="hold">
                            <p:stCondLst>
                              <p:cond delay="1500"/>
                            </p:stCondLst>
                            <p:childTnLst>
                              <p:par>
                                <p:cTn id="27" presetID="2" presetClass="entr" presetSubtype="4" decel="100000" fill="hold" grpId="0" nodeType="afterEffect">
                                  <p:stCondLst>
                                    <p:cond delay="0"/>
                                  </p:stCondLst>
                                  <p:childTnLst>
                                    <p:set>
                                      <p:cBhvr>
                                        <p:cTn id="28" dur="1" fill="hold">
                                          <p:stCondLst>
                                            <p:cond delay="0"/>
                                          </p:stCondLst>
                                        </p:cTn>
                                        <p:tgtEl>
                                          <p:spTgt spid="60"/>
                                        </p:tgtEl>
                                        <p:attrNameLst>
                                          <p:attrName>style.visibility</p:attrName>
                                        </p:attrNameLst>
                                      </p:cBhvr>
                                      <p:to>
                                        <p:strVal val="visible"/>
                                      </p:to>
                                    </p:set>
                                    <p:anim calcmode="lin" valueType="num">
                                      <p:cBhvr additive="base">
                                        <p:cTn id="29" dur="500" fill="hold"/>
                                        <p:tgtEl>
                                          <p:spTgt spid="60"/>
                                        </p:tgtEl>
                                        <p:attrNameLst>
                                          <p:attrName>ppt_x</p:attrName>
                                        </p:attrNameLst>
                                      </p:cBhvr>
                                      <p:tavLst>
                                        <p:tav tm="0">
                                          <p:val>
                                            <p:strVal val="#ppt_x"/>
                                          </p:val>
                                        </p:tav>
                                        <p:tav tm="100000">
                                          <p:val>
                                            <p:strVal val="#ppt_x"/>
                                          </p:val>
                                        </p:tav>
                                      </p:tavLst>
                                    </p:anim>
                                    <p:anim calcmode="lin" valueType="num">
                                      <p:cBhvr additive="base">
                                        <p:cTn id="30" dur="500" fill="hold"/>
                                        <p:tgtEl>
                                          <p:spTgt spid="60"/>
                                        </p:tgtEl>
                                        <p:attrNameLst>
                                          <p:attrName>ppt_y</p:attrName>
                                        </p:attrNameLst>
                                      </p:cBhvr>
                                      <p:tavLst>
                                        <p:tav tm="0">
                                          <p:val>
                                            <p:strVal val="1+#ppt_h/2"/>
                                          </p:val>
                                        </p:tav>
                                        <p:tav tm="100000">
                                          <p:val>
                                            <p:strVal val="#ppt_y"/>
                                          </p:val>
                                        </p:tav>
                                      </p:tavLst>
                                    </p:anim>
                                  </p:childTnLst>
                                </p:cTn>
                              </p:par>
                            </p:childTnLst>
                          </p:cTn>
                        </p:par>
                        <p:par>
                          <p:cTn id="31" fill="hold">
                            <p:stCondLst>
                              <p:cond delay="2000"/>
                            </p:stCondLst>
                            <p:childTnLst>
                              <p:par>
                                <p:cTn id="32" presetID="53" presetClass="entr" presetSubtype="16" fill="hold" nodeType="afterEffect">
                                  <p:stCondLst>
                                    <p:cond delay="0"/>
                                  </p:stCondLst>
                                  <p:childTnLst>
                                    <p:set>
                                      <p:cBhvr>
                                        <p:cTn id="33" dur="1" fill="hold">
                                          <p:stCondLst>
                                            <p:cond delay="0"/>
                                          </p:stCondLst>
                                        </p:cTn>
                                        <p:tgtEl>
                                          <p:spTgt spid="39"/>
                                        </p:tgtEl>
                                        <p:attrNameLst>
                                          <p:attrName>style.visibility</p:attrName>
                                        </p:attrNameLst>
                                      </p:cBhvr>
                                      <p:to>
                                        <p:strVal val="visible"/>
                                      </p:to>
                                    </p:set>
                                    <p:anim calcmode="lin" valueType="num">
                                      <p:cBhvr>
                                        <p:cTn id="34" dur="250" fill="hold"/>
                                        <p:tgtEl>
                                          <p:spTgt spid="39"/>
                                        </p:tgtEl>
                                        <p:attrNameLst>
                                          <p:attrName>ppt_w</p:attrName>
                                        </p:attrNameLst>
                                      </p:cBhvr>
                                      <p:tavLst>
                                        <p:tav tm="0">
                                          <p:val>
                                            <p:fltVal val="0"/>
                                          </p:val>
                                        </p:tav>
                                        <p:tav tm="100000">
                                          <p:val>
                                            <p:strVal val="#ppt_w"/>
                                          </p:val>
                                        </p:tav>
                                      </p:tavLst>
                                    </p:anim>
                                    <p:anim calcmode="lin" valueType="num">
                                      <p:cBhvr>
                                        <p:cTn id="35" dur="250" fill="hold"/>
                                        <p:tgtEl>
                                          <p:spTgt spid="39"/>
                                        </p:tgtEl>
                                        <p:attrNameLst>
                                          <p:attrName>ppt_h</p:attrName>
                                        </p:attrNameLst>
                                      </p:cBhvr>
                                      <p:tavLst>
                                        <p:tav tm="0">
                                          <p:val>
                                            <p:fltVal val="0"/>
                                          </p:val>
                                        </p:tav>
                                        <p:tav tm="100000">
                                          <p:val>
                                            <p:strVal val="#ppt_h"/>
                                          </p:val>
                                        </p:tav>
                                      </p:tavLst>
                                    </p:anim>
                                    <p:animEffect transition="in" filter="fade">
                                      <p:cBhvr>
                                        <p:cTn id="36" dur="25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6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520702" y="229440"/>
            <a:ext cx="11149013" cy="1079409"/>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93"/>
            <a:r>
              <a:rPr lang="en-US" sz="5292" dirty="0">
                <a:gradFill>
                  <a:gsLst>
                    <a:gs pos="1250">
                      <a:srgbClr val="FFFFFF"/>
                    </a:gs>
                    <a:gs pos="100000">
                      <a:srgbClr val="FFFFFF"/>
                    </a:gs>
                  </a:gsLst>
                  <a:lin ang="5400000" scaled="0"/>
                </a:gradFill>
                <a:latin typeface="Segoe UI Light"/>
              </a:rPr>
              <a:t>Connect Cloud Services</a:t>
            </a:r>
          </a:p>
        </p:txBody>
      </p:sp>
      <p:pic>
        <p:nvPicPr>
          <p:cNvPr id="7" name="Content Placeholder 3" descr="Services | Microsoft Flow - Mozilla Firefox"/>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75437" y="-104222"/>
            <a:ext cx="5014976" cy="5421440"/>
          </a:xfrm>
          <a:prstGeom prst="rect">
            <a:avLst/>
          </a:prstGeom>
        </p:spPr>
      </p:pic>
      <p:sp>
        <p:nvSpPr>
          <p:cNvPr id="5" name="Rectangle 4"/>
          <p:cNvSpPr/>
          <p:nvPr/>
        </p:nvSpPr>
        <p:spPr>
          <a:xfrm>
            <a:off x="520700" y="1344010"/>
            <a:ext cx="5475680" cy="4861604"/>
          </a:xfrm>
          <a:prstGeom prst="rect">
            <a:avLst/>
          </a:prstGeom>
        </p:spPr>
        <p:txBody>
          <a:bodyPr wrap="square">
            <a:spAutoFit/>
          </a:bodyPr>
          <a:lstStyle/>
          <a:p>
            <a:pPr marL="448059" indent="-448059" defTabSz="914126">
              <a:lnSpc>
                <a:spcPct val="90000"/>
              </a:lnSpc>
              <a:spcBef>
                <a:spcPct val="20000"/>
              </a:spcBef>
              <a:spcAft>
                <a:spcPts val="1764"/>
              </a:spcAft>
              <a:buSzPct val="90000"/>
              <a:buFont typeface="Wingdings" panose="05000000000000000000" pitchFamily="2" charset="2"/>
              <a:buChar char="à"/>
            </a:pPr>
            <a:r>
              <a:rPr lang="en-US" sz="1999" dirty="0">
                <a:solidFill>
                  <a:srgbClr val="FFFFFF"/>
                </a:solidFill>
                <a:latin typeface="Segoe UI Light"/>
                <a:ea typeface="Calibri" panose="020F0502020204030204" pitchFamily="34" charset="0"/>
                <a:cs typeface="Times New Roman" panose="02020603050405020304" pitchFamily="18" charset="0"/>
              </a:rPr>
              <a:t>Connects to the cloud services and data sources you're already using</a:t>
            </a:r>
          </a:p>
          <a:p>
            <a:pPr marL="448059" indent="-448059" defTabSz="914126">
              <a:lnSpc>
                <a:spcPct val="90000"/>
              </a:lnSpc>
              <a:spcBef>
                <a:spcPct val="20000"/>
              </a:spcBef>
              <a:spcAft>
                <a:spcPts val="1764"/>
              </a:spcAft>
              <a:buSzPct val="90000"/>
              <a:buFont typeface="Wingdings" panose="05000000000000000000" pitchFamily="2" charset="2"/>
              <a:buChar char="à"/>
            </a:pPr>
            <a:r>
              <a:rPr lang="en-US" sz="1999" dirty="0">
                <a:solidFill>
                  <a:srgbClr val="FFFFFF"/>
                </a:solidFill>
                <a:latin typeface="Segoe UI Light"/>
                <a:ea typeface="Calibri" panose="020F0502020204030204" pitchFamily="34" charset="0"/>
                <a:cs typeface="Times New Roman" panose="02020603050405020304" pitchFamily="18" charset="0"/>
              </a:rPr>
              <a:t>Gives business analysts and specialists the ability to quickly build apps that suit their specific needs</a:t>
            </a:r>
          </a:p>
          <a:p>
            <a:pPr marL="448059" indent="-448059" defTabSz="914126">
              <a:lnSpc>
                <a:spcPct val="90000"/>
              </a:lnSpc>
              <a:spcBef>
                <a:spcPct val="20000"/>
              </a:spcBef>
              <a:spcAft>
                <a:spcPts val="1764"/>
              </a:spcAft>
              <a:buSzPct val="90000"/>
              <a:buFont typeface="Wingdings" panose="05000000000000000000" pitchFamily="2" charset="2"/>
              <a:buChar char="à"/>
            </a:pPr>
            <a:r>
              <a:rPr lang="en-US" sz="1999" dirty="0">
                <a:solidFill>
                  <a:srgbClr val="FFFFFF"/>
                </a:solidFill>
                <a:latin typeface="Segoe UI Light"/>
                <a:ea typeface="Calibri" panose="020F0502020204030204" pitchFamily="34" charset="0"/>
                <a:cs typeface="Times New Roman" panose="02020603050405020304" pitchFamily="18" charset="0"/>
              </a:rPr>
              <a:t>No code required or struggling with integration issues to connect data</a:t>
            </a:r>
          </a:p>
          <a:p>
            <a:pPr marL="448059" indent="-448059" defTabSz="914126">
              <a:lnSpc>
                <a:spcPct val="90000"/>
              </a:lnSpc>
              <a:spcBef>
                <a:spcPct val="20000"/>
              </a:spcBef>
              <a:spcAft>
                <a:spcPts val="1764"/>
              </a:spcAft>
              <a:buSzPct val="90000"/>
              <a:buFont typeface="Wingdings" panose="05000000000000000000" pitchFamily="2" charset="2"/>
              <a:buChar char="à"/>
            </a:pPr>
            <a:r>
              <a:rPr lang="en-US" sz="1999" dirty="0">
                <a:solidFill>
                  <a:srgbClr val="FFFFFF"/>
                </a:solidFill>
                <a:latin typeface="Segoe UI Light"/>
                <a:ea typeface="Calibri" panose="020F0502020204030204" pitchFamily="34" charset="0"/>
                <a:cs typeface="Times New Roman" panose="02020603050405020304" pitchFamily="18" charset="0"/>
              </a:rPr>
              <a:t>Apps can be published instantly to co-workers across web, tablets and mobile devices without waiting for app stores. </a:t>
            </a:r>
          </a:p>
          <a:p>
            <a:pPr marL="448059" indent="-448059" defTabSz="914126">
              <a:lnSpc>
                <a:spcPct val="90000"/>
              </a:lnSpc>
              <a:spcBef>
                <a:spcPct val="20000"/>
              </a:spcBef>
              <a:spcAft>
                <a:spcPts val="1764"/>
              </a:spcAft>
              <a:buSzPct val="90000"/>
              <a:buFont typeface="Wingdings" panose="05000000000000000000" pitchFamily="2" charset="2"/>
              <a:buChar char="à"/>
            </a:pPr>
            <a:r>
              <a:rPr lang="en-US" sz="1999" dirty="0" err="1">
                <a:solidFill>
                  <a:srgbClr val="FFFFFF"/>
                </a:solidFill>
                <a:latin typeface="Segoe UI Light"/>
                <a:ea typeface="Calibri" panose="020F0502020204030204" pitchFamily="34" charset="0"/>
                <a:cs typeface="Times New Roman" panose="02020603050405020304" pitchFamily="18" charset="0"/>
              </a:rPr>
              <a:t>PowerApps</a:t>
            </a:r>
            <a:r>
              <a:rPr lang="en-US" sz="1999" dirty="0">
                <a:solidFill>
                  <a:srgbClr val="FFFFFF"/>
                </a:solidFill>
                <a:latin typeface="Segoe UI Light"/>
                <a:ea typeface="Calibri" panose="020F0502020204030204" pitchFamily="34" charset="0"/>
                <a:cs typeface="Times New Roman" panose="02020603050405020304" pitchFamily="18" charset="0"/>
              </a:rPr>
              <a:t> also integrates with Microsoft Flow, making it possible to trigger flows from within apps</a:t>
            </a:r>
          </a:p>
        </p:txBody>
      </p:sp>
      <p:pic>
        <p:nvPicPr>
          <p:cNvPr id="8" name="Picture 7"/>
          <p:cNvPicPr>
            <a:picLocks noChangeAspect="1"/>
          </p:cNvPicPr>
          <p:nvPr/>
        </p:nvPicPr>
        <p:blipFill>
          <a:blip r:embed="rId3"/>
          <a:stretch>
            <a:fillRect/>
          </a:stretch>
        </p:blipFill>
        <p:spPr>
          <a:xfrm>
            <a:off x="7175439" y="5317218"/>
            <a:ext cx="5109755" cy="1649639"/>
          </a:xfrm>
          <a:prstGeom prst="rect">
            <a:avLst/>
          </a:prstGeom>
        </p:spPr>
      </p:pic>
    </p:spTree>
    <p:extLst>
      <p:ext uri="{BB962C8B-B14F-4D97-AF65-F5344CB8AC3E}">
        <p14:creationId xmlns:p14="http://schemas.microsoft.com/office/powerpoint/2010/main" val="1092159133"/>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520702" y="229440"/>
            <a:ext cx="11149013" cy="1079409"/>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93"/>
            <a:r>
              <a:rPr lang="en-US" sz="4800" dirty="0">
                <a:gradFill>
                  <a:gsLst>
                    <a:gs pos="1250">
                      <a:prstClr val="white"/>
                    </a:gs>
                    <a:gs pos="100000">
                      <a:prstClr val="white"/>
                    </a:gs>
                  </a:gsLst>
                  <a:lin ang="5400000" scaled="0"/>
                </a:gradFill>
                <a:latin typeface="Segoe UI Light"/>
              </a:rPr>
              <a:t>Sharing </a:t>
            </a:r>
            <a:r>
              <a:rPr lang="en-US" sz="4800" dirty="0" err="1">
                <a:gradFill>
                  <a:gsLst>
                    <a:gs pos="1250">
                      <a:prstClr val="white"/>
                    </a:gs>
                    <a:gs pos="100000">
                      <a:prstClr val="white"/>
                    </a:gs>
                  </a:gsLst>
                  <a:lin ang="5400000" scaled="0"/>
                </a:gradFill>
                <a:latin typeface="Segoe UI Light"/>
              </a:rPr>
              <a:t>PowerApps</a:t>
            </a:r>
            <a:endParaRPr lang="en-US" sz="5292" dirty="0">
              <a:gradFill>
                <a:gsLst>
                  <a:gs pos="1250">
                    <a:srgbClr val="FFFFFF"/>
                  </a:gs>
                  <a:gs pos="100000">
                    <a:srgbClr val="FFFFFF"/>
                  </a:gs>
                </a:gsLst>
                <a:lin ang="5400000" scaled="0"/>
              </a:gradFill>
              <a:latin typeface="Segoe UI Light"/>
            </a:endParaRPr>
          </a:p>
        </p:txBody>
      </p:sp>
      <p:sp>
        <p:nvSpPr>
          <p:cNvPr id="3" name="Text Placeholder 2"/>
          <p:cNvSpPr txBox="1">
            <a:spLocks/>
          </p:cNvSpPr>
          <p:nvPr/>
        </p:nvSpPr>
        <p:spPr>
          <a:xfrm>
            <a:off x="520702" y="1474764"/>
            <a:ext cx="10339387" cy="4203795"/>
          </a:xfrm>
          <a:prstGeom prst="rect">
            <a:avLst/>
          </a:prstGeom>
        </p:spPr>
        <p:txBody>
          <a:bodyPr vert="horz" wrap="square" lIns="146266" tIns="91416" rIns="146266" bIns="91416"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48059" indent="-448059" defTabSz="914126">
              <a:spcAft>
                <a:spcPts val="1764"/>
              </a:spcAft>
              <a:buFont typeface="Wingdings" panose="05000000000000000000" pitchFamily="2" charset="2"/>
              <a:buChar char="à"/>
            </a:pPr>
            <a:r>
              <a:rPr lang="en-US" sz="2399" b="1" dirty="0">
                <a:solidFill>
                  <a:srgbClr val="FFFFFF"/>
                </a:solidFill>
                <a:latin typeface="Segoe UI Light"/>
                <a:ea typeface="Calibri" panose="020F0502020204030204" pitchFamily="34" charset="0"/>
                <a:cs typeface="Times New Roman" panose="02020603050405020304" pitchFamily="18" charset="0"/>
              </a:rPr>
              <a:t>Azure Active Directory based</a:t>
            </a:r>
          </a:p>
          <a:p>
            <a:pPr marL="684605" lvl="1" indent="-448059" defTabSz="914126">
              <a:spcAft>
                <a:spcPts val="1764"/>
              </a:spcAft>
              <a:buFont typeface="Wingdings" panose="05000000000000000000" pitchFamily="2" charset="2"/>
              <a:buChar char="à"/>
            </a:pPr>
            <a:r>
              <a:rPr lang="en-US" sz="2200" dirty="0">
                <a:solidFill>
                  <a:srgbClr val="FFFFFF"/>
                </a:solidFill>
                <a:latin typeface="Segoe UI Light"/>
                <a:ea typeface="Calibri" panose="020F0502020204030204" pitchFamily="34" charset="0"/>
                <a:cs typeface="Times New Roman" panose="02020603050405020304" pitchFamily="18" charset="0"/>
              </a:rPr>
              <a:t>Name or email</a:t>
            </a:r>
          </a:p>
          <a:p>
            <a:pPr marL="684605" lvl="1" indent="-448059" defTabSz="914126">
              <a:spcAft>
                <a:spcPts val="1764"/>
              </a:spcAft>
              <a:buFont typeface="Wingdings" panose="05000000000000000000" pitchFamily="2" charset="2"/>
              <a:buChar char="à"/>
            </a:pPr>
            <a:r>
              <a:rPr lang="en-US" sz="2200" dirty="0">
                <a:solidFill>
                  <a:srgbClr val="FFFFFF"/>
                </a:solidFill>
                <a:latin typeface="Segoe UI Light"/>
                <a:ea typeface="Calibri" panose="020F0502020204030204" pitchFamily="34" charset="0"/>
                <a:cs typeface="Times New Roman" panose="02020603050405020304" pitchFamily="18" charset="0"/>
              </a:rPr>
              <a:t>View or Edit permissions</a:t>
            </a:r>
          </a:p>
          <a:p>
            <a:pPr marL="448059" indent="-448059" defTabSz="914126">
              <a:spcAft>
                <a:spcPts val="1764"/>
              </a:spcAft>
              <a:buFont typeface="Wingdings" panose="05000000000000000000" pitchFamily="2" charset="2"/>
              <a:buChar char="à"/>
            </a:pPr>
            <a:r>
              <a:rPr lang="en-US" sz="2399" b="1" dirty="0">
                <a:solidFill>
                  <a:srgbClr val="FFFFFF"/>
                </a:solidFill>
                <a:latin typeface="Segoe UI Light"/>
                <a:ea typeface="Calibri" panose="020F0502020204030204" pitchFamily="34" charset="0"/>
                <a:cs typeface="Times New Roman" panose="02020603050405020304" pitchFamily="18" charset="0"/>
              </a:rPr>
              <a:t>No personal accounts… today</a:t>
            </a:r>
          </a:p>
          <a:p>
            <a:pPr marL="448059" indent="-448059" defTabSz="914126">
              <a:spcAft>
                <a:spcPts val="1764"/>
              </a:spcAft>
              <a:buFont typeface="Wingdings" panose="05000000000000000000" pitchFamily="2" charset="2"/>
              <a:buChar char="à"/>
            </a:pPr>
            <a:r>
              <a:rPr lang="en-US" sz="2399" b="1" dirty="0">
                <a:solidFill>
                  <a:srgbClr val="FFFFFF"/>
                </a:solidFill>
                <a:latin typeface="Segoe UI Light"/>
                <a:ea typeface="Calibri" panose="020F0502020204030204" pitchFamily="34" charset="0"/>
                <a:cs typeface="Times New Roman" panose="02020603050405020304" pitchFamily="18" charset="0"/>
              </a:rPr>
              <a:t>Separate data connections</a:t>
            </a:r>
          </a:p>
          <a:p>
            <a:pPr marL="684605" lvl="1" indent="-448059" defTabSz="914126">
              <a:spcAft>
                <a:spcPts val="1764"/>
              </a:spcAft>
              <a:buFont typeface="Wingdings" panose="05000000000000000000" pitchFamily="2" charset="2"/>
              <a:buChar char="à"/>
            </a:pPr>
            <a:r>
              <a:rPr lang="en-US" sz="2200" dirty="0">
                <a:solidFill>
                  <a:srgbClr val="FFFFFF"/>
                </a:solidFill>
                <a:latin typeface="Segoe UI Light"/>
                <a:ea typeface="Calibri" panose="020F0502020204030204" pitchFamily="34" charset="0"/>
                <a:cs typeface="Times New Roman" panose="02020603050405020304" pitchFamily="18" charset="0"/>
              </a:rPr>
              <a:t>Target user leverages their own data connection</a:t>
            </a:r>
          </a:p>
          <a:p>
            <a:pPr marL="684605" lvl="1" indent="-448059" defTabSz="914126">
              <a:spcAft>
                <a:spcPts val="1764"/>
              </a:spcAft>
              <a:buFont typeface="Wingdings" panose="05000000000000000000" pitchFamily="2" charset="2"/>
              <a:buChar char="à"/>
            </a:pPr>
            <a:r>
              <a:rPr lang="en-US" sz="2200" dirty="0">
                <a:solidFill>
                  <a:srgbClr val="FFFFFF"/>
                </a:solidFill>
                <a:latin typeface="Segoe UI Light"/>
                <a:ea typeface="Calibri" panose="020F0502020204030204" pitchFamily="34" charset="0"/>
                <a:cs typeface="Times New Roman" panose="02020603050405020304" pitchFamily="18" charset="0"/>
              </a:rPr>
              <a:t>Prompted for choice when launching app</a:t>
            </a:r>
          </a:p>
        </p:txBody>
      </p:sp>
      <p:pic>
        <p:nvPicPr>
          <p:cNvPr id="4" name="Picture 3"/>
          <p:cNvPicPr>
            <a:picLocks noChangeAspect="1"/>
          </p:cNvPicPr>
          <p:nvPr/>
        </p:nvPicPr>
        <p:blipFill rotWithShape="1">
          <a:blip r:embed="rId2"/>
          <a:srcRect r="16221"/>
          <a:stretch/>
        </p:blipFill>
        <p:spPr>
          <a:xfrm>
            <a:off x="6095207" y="651960"/>
            <a:ext cx="6095207" cy="3952124"/>
          </a:xfrm>
          <a:prstGeom prst="rect">
            <a:avLst/>
          </a:prstGeom>
        </p:spPr>
      </p:pic>
    </p:spTree>
    <p:extLst>
      <p:ext uri="{BB962C8B-B14F-4D97-AF65-F5344CB8AC3E}">
        <p14:creationId xmlns:p14="http://schemas.microsoft.com/office/powerpoint/2010/main" val="2405645205"/>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520702" y="229440"/>
            <a:ext cx="11149013" cy="1079409"/>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93"/>
            <a:r>
              <a:rPr lang="en-US" sz="5292" dirty="0">
                <a:gradFill>
                  <a:gsLst>
                    <a:gs pos="1250">
                      <a:srgbClr val="FFFFFF"/>
                    </a:gs>
                    <a:gs pos="100000">
                      <a:srgbClr val="FFFFFF"/>
                    </a:gs>
                  </a:gsLst>
                  <a:lin ang="5400000" scaled="0"/>
                </a:gradFill>
                <a:latin typeface="Segoe UI Light"/>
              </a:rPr>
              <a:t>Where you manage </a:t>
            </a:r>
            <a:r>
              <a:rPr lang="en-US" sz="5292" dirty="0" err="1">
                <a:gradFill>
                  <a:gsLst>
                    <a:gs pos="1250">
                      <a:srgbClr val="FFFFFF"/>
                    </a:gs>
                    <a:gs pos="100000">
                      <a:srgbClr val="FFFFFF"/>
                    </a:gs>
                  </a:gsLst>
                  <a:lin ang="5400000" scaled="0"/>
                </a:gradFill>
                <a:latin typeface="Segoe UI Light"/>
              </a:rPr>
              <a:t>PowerApps</a:t>
            </a:r>
            <a:r>
              <a:rPr lang="en-US" sz="5292" dirty="0">
                <a:gradFill>
                  <a:gsLst>
                    <a:gs pos="1250">
                      <a:srgbClr val="FFFFFF"/>
                    </a:gs>
                    <a:gs pos="100000">
                      <a:srgbClr val="FFFFFF"/>
                    </a:gs>
                  </a:gsLst>
                  <a:lin ang="5400000" scaled="0"/>
                </a:gradFill>
                <a:latin typeface="Segoe UI Light"/>
              </a:rPr>
              <a:t> and how can we get start</a:t>
            </a:r>
          </a:p>
        </p:txBody>
      </p:sp>
      <p:sp>
        <p:nvSpPr>
          <p:cNvPr id="3" name="Text Placeholder 2"/>
          <p:cNvSpPr txBox="1">
            <a:spLocks/>
          </p:cNvSpPr>
          <p:nvPr/>
        </p:nvSpPr>
        <p:spPr>
          <a:xfrm>
            <a:off x="535216" y="2029141"/>
            <a:ext cx="10047287" cy="516888"/>
          </a:xfrm>
          <a:prstGeom prst="rect">
            <a:avLst/>
          </a:prstGeom>
        </p:spPr>
        <p:txBody>
          <a:bodyPr vert="horz" wrap="square" lIns="146266" tIns="91416" rIns="146266" bIns="91416"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48059" indent="-448059" defTabSz="914126">
              <a:spcAft>
                <a:spcPts val="1764"/>
              </a:spcAft>
              <a:buFont typeface="Wingdings" panose="05000000000000000000" pitchFamily="2" charset="2"/>
              <a:buChar char="à"/>
            </a:pPr>
            <a:r>
              <a:rPr lang="en-US" sz="2399" dirty="0" err="1">
                <a:solidFill>
                  <a:srgbClr val="FFFFFF"/>
                </a:solidFill>
                <a:latin typeface="Segoe UI Light"/>
                <a:ea typeface="Calibri" panose="020F0502020204030204" pitchFamily="34" charset="0"/>
                <a:cs typeface="Times New Roman" panose="02020603050405020304" pitchFamily="18" charset="0"/>
              </a:rPr>
              <a:t>PowerApps</a:t>
            </a:r>
            <a:r>
              <a:rPr lang="en-US" sz="2399" dirty="0">
                <a:solidFill>
                  <a:srgbClr val="FFFFFF"/>
                </a:solidFill>
                <a:latin typeface="Segoe UI Light"/>
                <a:ea typeface="Calibri" panose="020F0502020204030204" pitchFamily="34" charset="0"/>
                <a:cs typeface="Times New Roman" panose="02020603050405020304" pitchFamily="18" charset="0"/>
              </a:rPr>
              <a:t> web portal at </a:t>
            </a:r>
            <a:r>
              <a:rPr lang="en-US" sz="2399" b="1" dirty="0">
                <a:solidFill>
                  <a:srgbClr val="FFFFFF"/>
                </a:solidFill>
                <a:latin typeface="Segoe UI Light"/>
                <a:ea typeface="Calibri" panose="020F0502020204030204" pitchFamily="34" charset="0"/>
                <a:cs typeface="Times New Roman" panose="02020603050405020304" pitchFamily="18" charset="0"/>
              </a:rPr>
              <a:t>https://powerapps.microsoft.com/en-us/</a:t>
            </a:r>
          </a:p>
        </p:txBody>
      </p:sp>
      <p:pic>
        <p:nvPicPr>
          <p:cNvPr id="8" name="Picture 7"/>
          <p:cNvPicPr>
            <a:picLocks noChangeAspect="1"/>
          </p:cNvPicPr>
          <p:nvPr/>
        </p:nvPicPr>
        <p:blipFill>
          <a:blip r:embed="rId3"/>
          <a:stretch>
            <a:fillRect/>
          </a:stretch>
        </p:blipFill>
        <p:spPr>
          <a:xfrm>
            <a:off x="5579898" y="2747584"/>
            <a:ext cx="6414576" cy="3928928"/>
          </a:xfrm>
          <a:prstGeom prst="rect">
            <a:avLst/>
          </a:prstGeom>
        </p:spPr>
      </p:pic>
      <p:sp>
        <p:nvSpPr>
          <p:cNvPr id="9" name="Text Placeholder 2"/>
          <p:cNvSpPr txBox="1">
            <a:spLocks/>
          </p:cNvSpPr>
          <p:nvPr/>
        </p:nvSpPr>
        <p:spPr>
          <a:xfrm>
            <a:off x="520701" y="2708426"/>
            <a:ext cx="4822144" cy="3452179"/>
          </a:xfrm>
          <a:prstGeom prst="rect">
            <a:avLst/>
          </a:prstGeom>
        </p:spPr>
        <p:txBody>
          <a:bodyPr vert="horz" wrap="square" lIns="146266" tIns="91416" rIns="146266" bIns="91416"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48059" indent="-448059" defTabSz="914126">
              <a:spcAft>
                <a:spcPts val="1764"/>
              </a:spcAft>
              <a:buFont typeface="Wingdings" panose="05000000000000000000" pitchFamily="2" charset="2"/>
              <a:buChar char="à"/>
            </a:pPr>
            <a:r>
              <a:rPr lang="en-US" sz="2399" dirty="0">
                <a:solidFill>
                  <a:srgbClr val="FFFFFF"/>
                </a:solidFill>
                <a:latin typeface="Segoe UI Light"/>
                <a:ea typeface="Calibri" panose="020F0502020204030204" pitchFamily="34" charset="0"/>
                <a:cs typeface="Times New Roman" panose="02020603050405020304" pitchFamily="18" charset="0"/>
              </a:rPr>
              <a:t>Learn how to use </a:t>
            </a:r>
            <a:r>
              <a:rPr lang="en-US" sz="2399" dirty="0" err="1">
                <a:solidFill>
                  <a:srgbClr val="FFFFFF"/>
                </a:solidFill>
                <a:latin typeface="Segoe UI Light"/>
                <a:ea typeface="Calibri" panose="020F0502020204030204" pitchFamily="34" charset="0"/>
                <a:cs typeface="Times New Roman" panose="02020603050405020304" pitchFamily="18" charset="0"/>
              </a:rPr>
              <a:t>PowerApps</a:t>
            </a:r>
            <a:r>
              <a:rPr lang="en-US" sz="2399" dirty="0">
                <a:solidFill>
                  <a:srgbClr val="FFFFFF"/>
                </a:solidFill>
                <a:latin typeface="Segoe UI Light"/>
                <a:ea typeface="Calibri" panose="020F0502020204030204" pitchFamily="34" charset="0"/>
                <a:cs typeface="Times New Roman" panose="02020603050405020304" pitchFamily="18" charset="0"/>
              </a:rPr>
              <a:t> (tutorials and videos) at </a:t>
            </a:r>
            <a:r>
              <a:rPr lang="en-US" sz="2399" b="1" dirty="0">
                <a:solidFill>
                  <a:srgbClr val="FFFFFF"/>
                </a:solidFill>
                <a:latin typeface="Segoe UI Light"/>
                <a:ea typeface="Calibri" panose="020F0502020204030204" pitchFamily="34" charset="0"/>
                <a:cs typeface="Times New Roman" panose="02020603050405020304" pitchFamily="18" charset="0"/>
              </a:rPr>
              <a:t>powerapps.microsoft.com/</a:t>
            </a:r>
            <a:r>
              <a:rPr lang="en-US" sz="2399" b="1" dirty="0" err="1">
                <a:solidFill>
                  <a:srgbClr val="FFFFFF"/>
                </a:solidFill>
                <a:latin typeface="Segoe UI Light"/>
                <a:ea typeface="Calibri" panose="020F0502020204030204" pitchFamily="34" charset="0"/>
                <a:cs typeface="Times New Roman" panose="02020603050405020304" pitchFamily="18" charset="0"/>
              </a:rPr>
              <a:t>en</a:t>
            </a:r>
            <a:r>
              <a:rPr lang="en-US" sz="2399" b="1" dirty="0">
                <a:solidFill>
                  <a:srgbClr val="FFFFFF"/>
                </a:solidFill>
                <a:latin typeface="Segoe UI Light"/>
                <a:ea typeface="Calibri" panose="020F0502020204030204" pitchFamily="34" charset="0"/>
                <a:cs typeface="Times New Roman" panose="02020603050405020304" pitchFamily="18" charset="0"/>
              </a:rPr>
              <a:t>-us/tutorials</a:t>
            </a:r>
          </a:p>
          <a:p>
            <a:pPr marL="448059" indent="-448059" defTabSz="914126">
              <a:spcAft>
                <a:spcPts val="1764"/>
              </a:spcAft>
              <a:buFont typeface="Wingdings" panose="05000000000000000000" pitchFamily="2" charset="2"/>
              <a:buChar char="à"/>
            </a:pPr>
            <a:r>
              <a:rPr lang="en-US" sz="2399" dirty="0">
                <a:solidFill>
                  <a:srgbClr val="FFFFFF"/>
                </a:solidFill>
                <a:latin typeface="Segoe UI Light"/>
                <a:ea typeface="Calibri" panose="020F0502020204030204" pitchFamily="34" charset="0"/>
                <a:cs typeface="Times New Roman" panose="02020603050405020304" pitchFamily="18" charset="0"/>
              </a:rPr>
              <a:t>Windows app available through Windows Store </a:t>
            </a:r>
          </a:p>
          <a:p>
            <a:pPr marL="448059" indent="-448059" defTabSz="914126">
              <a:spcAft>
                <a:spcPts val="1764"/>
              </a:spcAft>
              <a:buFont typeface="Wingdings" panose="05000000000000000000" pitchFamily="2" charset="2"/>
              <a:buChar char="à"/>
            </a:pPr>
            <a:r>
              <a:rPr lang="en-US" sz="2399" dirty="0">
                <a:solidFill>
                  <a:srgbClr val="FFFFFF"/>
                </a:solidFill>
                <a:latin typeface="Segoe UI Light"/>
                <a:ea typeface="Calibri" panose="020F0502020204030204" pitchFamily="34" charset="0"/>
                <a:cs typeface="Times New Roman" panose="02020603050405020304" pitchFamily="18" charset="0"/>
              </a:rPr>
              <a:t>Now is integrated with Office365</a:t>
            </a:r>
          </a:p>
        </p:txBody>
      </p:sp>
    </p:spTree>
    <p:extLst>
      <p:ext uri="{BB962C8B-B14F-4D97-AF65-F5344CB8AC3E}">
        <p14:creationId xmlns:p14="http://schemas.microsoft.com/office/powerpoint/2010/main" val="1427349494"/>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520702" y="229440"/>
            <a:ext cx="11149013" cy="1079409"/>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dirty="0">
                <a:gradFill>
                  <a:gsLst>
                    <a:gs pos="1250">
                      <a:srgbClr val="FFFFFF"/>
                    </a:gs>
                    <a:gs pos="100000">
                      <a:srgbClr val="FFFFFF"/>
                    </a:gs>
                  </a:gsLst>
                  <a:lin ang="5400000" scaled="0"/>
                </a:gradFill>
                <a:latin typeface="Segoe UI Light"/>
              </a:rPr>
              <a:t>Where you developer (build)…</a:t>
            </a:r>
          </a:p>
        </p:txBody>
      </p:sp>
      <p:sp>
        <p:nvSpPr>
          <p:cNvPr id="3" name="Text Placeholder 2"/>
          <p:cNvSpPr txBox="1">
            <a:spLocks/>
          </p:cNvSpPr>
          <p:nvPr/>
        </p:nvSpPr>
        <p:spPr>
          <a:xfrm>
            <a:off x="520702" y="1308848"/>
            <a:ext cx="7506297" cy="516888"/>
          </a:xfrm>
          <a:prstGeom prst="rect">
            <a:avLst/>
          </a:prstGeom>
        </p:spPr>
        <p:txBody>
          <a:bodyPr vert="horz" wrap="square" lIns="146266" tIns="91416" rIns="146266" bIns="91416"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48059" indent="-448059" defTabSz="914126">
              <a:spcAft>
                <a:spcPts val="1764"/>
              </a:spcAft>
              <a:buFont typeface="Wingdings" panose="05000000000000000000" pitchFamily="2" charset="2"/>
              <a:buChar char="à"/>
            </a:pPr>
            <a:r>
              <a:rPr lang="en-US" sz="2399" dirty="0" err="1">
                <a:solidFill>
                  <a:srgbClr val="FFFFFF"/>
                </a:solidFill>
                <a:latin typeface="Segoe UI Light"/>
                <a:ea typeface="Calibri" panose="020F0502020204030204" pitchFamily="34" charset="0"/>
                <a:cs typeface="Times New Roman" panose="02020603050405020304" pitchFamily="18" charset="0"/>
              </a:rPr>
              <a:t>PowerApps</a:t>
            </a:r>
            <a:r>
              <a:rPr lang="en-US" sz="2399" dirty="0">
                <a:solidFill>
                  <a:srgbClr val="FFFFFF"/>
                </a:solidFill>
                <a:latin typeface="Segoe UI Light"/>
                <a:ea typeface="Calibri" panose="020F0502020204030204" pitchFamily="34" charset="0"/>
                <a:cs typeface="Times New Roman" panose="02020603050405020304" pitchFamily="18" charset="0"/>
              </a:rPr>
              <a:t> Studio for Web or Windows</a:t>
            </a:r>
            <a:endParaRPr lang="en-US" sz="2399" b="1" dirty="0">
              <a:solidFill>
                <a:srgbClr val="FFFFFF"/>
              </a:solidFill>
              <a:latin typeface="Segoe UI Light"/>
              <a:ea typeface="Calibri" panose="020F0502020204030204" pitchFamily="34" charset="0"/>
              <a:cs typeface="Times New Roman" panose="02020603050405020304" pitchFamily="18" charset="0"/>
            </a:endParaRPr>
          </a:p>
        </p:txBody>
      </p:sp>
      <p:pic>
        <p:nvPicPr>
          <p:cNvPr id="5" name="Picture 4"/>
          <p:cNvPicPr>
            <a:picLocks noChangeAspect="1"/>
          </p:cNvPicPr>
          <p:nvPr/>
        </p:nvPicPr>
        <p:blipFill>
          <a:blip r:embed="rId2"/>
          <a:stretch>
            <a:fillRect/>
          </a:stretch>
        </p:blipFill>
        <p:spPr>
          <a:xfrm>
            <a:off x="3626190" y="1965520"/>
            <a:ext cx="4938034" cy="4378388"/>
          </a:xfrm>
          <a:prstGeom prst="rect">
            <a:avLst/>
          </a:prstGeom>
        </p:spPr>
      </p:pic>
      <p:pic>
        <p:nvPicPr>
          <p:cNvPr id="10" name="Picture 9"/>
          <p:cNvPicPr>
            <a:picLocks noChangeAspect="1"/>
          </p:cNvPicPr>
          <p:nvPr/>
        </p:nvPicPr>
        <p:blipFill>
          <a:blip r:embed="rId3"/>
          <a:stretch>
            <a:fillRect/>
          </a:stretch>
        </p:blipFill>
        <p:spPr>
          <a:xfrm>
            <a:off x="146732" y="4776541"/>
            <a:ext cx="3646534" cy="1948734"/>
          </a:xfrm>
          <a:prstGeom prst="rect">
            <a:avLst/>
          </a:prstGeom>
        </p:spPr>
      </p:pic>
      <p:pic>
        <p:nvPicPr>
          <p:cNvPr id="11" name="Picture 10"/>
          <p:cNvPicPr>
            <a:picLocks noChangeAspect="1"/>
          </p:cNvPicPr>
          <p:nvPr/>
        </p:nvPicPr>
        <p:blipFill>
          <a:blip r:embed="rId4"/>
          <a:stretch>
            <a:fillRect/>
          </a:stretch>
        </p:blipFill>
        <p:spPr>
          <a:xfrm>
            <a:off x="8340489" y="5073697"/>
            <a:ext cx="3849924" cy="1651578"/>
          </a:xfrm>
          <a:prstGeom prst="rect">
            <a:avLst/>
          </a:prstGeom>
        </p:spPr>
      </p:pic>
    </p:spTree>
    <p:extLst>
      <p:ext uri="{BB962C8B-B14F-4D97-AF65-F5344CB8AC3E}">
        <p14:creationId xmlns:p14="http://schemas.microsoft.com/office/powerpoint/2010/main" val="1372182338"/>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520702" y="229440"/>
            <a:ext cx="11149013" cy="1079409"/>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dirty="0">
                <a:gradFill>
                  <a:gsLst>
                    <a:gs pos="1250">
                      <a:srgbClr val="FFFFFF"/>
                    </a:gs>
                    <a:gs pos="100000">
                      <a:srgbClr val="FFFFFF"/>
                    </a:gs>
                  </a:gsLst>
                  <a:lin ang="5400000" scaled="0"/>
                </a:gradFill>
                <a:latin typeface="Segoe UI Light"/>
              </a:rPr>
              <a:t>Where you execute them…</a:t>
            </a:r>
          </a:p>
        </p:txBody>
      </p:sp>
      <p:sp>
        <p:nvSpPr>
          <p:cNvPr id="3" name="Text Placeholder 2"/>
          <p:cNvSpPr txBox="1">
            <a:spLocks/>
          </p:cNvSpPr>
          <p:nvPr/>
        </p:nvSpPr>
        <p:spPr>
          <a:xfrm>
            <a:off x="520701" y="1308849"/>
            <a:ext cx="8087858" cy="2692483"/>
          </a:xfrm>
          <a:prstGeom prst="rect">
            <a:avLst/>
          </a:prstGeom>
        </p:spPr>
        <p:txBody>
          <a:bodyPr vert="horz" wrap="square" lIns="146266" tIns="91416" rIns="146266" bIns="91416"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48059" indent="-448059" defTabSz="914126">
              <a:spcAft>
                <a:spcPts val="1764"/>
              </a:spcAft>
              <a:buFont typeface="Wingdings" panose="05000000000000000000" pitchFamily="2" charset="2"/>
              <a:buChar char="à"/>
            </a:pPr>
            <a:r>
              <a:rPr lang="en-US" sz="2399" dirty="0">
                <a:solidFill>
                  <a:srgbClr val="FFFFFF"/>
                </a:solidFill>
                <a:latin typeface="Segoe UI Light"/>
                <a:ea typeface="Calibri" panose="020F0502020204030204" pitchFamily="34" charset="0"/>
                <a:cs typeface="Times New Roman" panose="02020603050405020304" pitchFamily="18" charset="0"/>
              </a:rPr>
              <a:t>Mobile Apps available on iOS, Android and Windows Mobile</a:t>
            </a:r>
          </a:p>
          <a:p>
            <a:pPr marL="684605" lvl="1" indent="-448059" defTabSz="914126">
              <a:spcAft>
                <a:spcPts val="1764"/>
              </a:spcAft>
              <a:buFont typeface="Wingdings" panose="05000000000000000000" pitchFamily="2" charset="2"/>
              <a:buChar char="à"/>
            </a:pPr>
            <a:r>
              <a:rPr lang="en-US" sz="2000" dirty="0">
                <a:gradFill>
                  <a:gsLst>
                    <a:gs pos="1250">
                      <a:srgbClr val="FFFFFF"/>
                    </a:gs>
                    <a:gs pos="100000">
                      <a:srgbClr val="FFFFFF"/>
                    </a:gs>
                  </a:gsLst>
                  <a:lin ang="5400000" scaled="0"/>
                </a:gradFill>
                <a:latin typeface="Segoe UI"/>
              </a:rPr>
              <a:t>Individual </a:t>
            </a:r>
            <a:r>
              <a:rPr lang="en-US" sz="2000" dirty="0" err="1">
                <a:gradFill>
                  <a:gsLst>
                    <a:gs pos="1250">
                      <a:srgbClr val="FFFFFF"/>
                    </a:gs>
                    <a:gs pos="100000">
                      <a:srgbClr val="FFFFFF"/>
                    </a:gs>
                  </a:gsLst>
                  <a:lin ang="5400000" scaled="0"/>
                </a:gradFill>
                <a:latin typeface="Segoe UI"/>
              </a:rPr>
              <a:t>PowerApps</a:t>
            </a:r>
            <a:r>
              <a:rPr lang="en-US" sz="2000" dirty="0">
                <a:gradFill>
                  <a:gsLst>
                    <a:gs pos="1250">
                      <a:srgbClr val="FFFFFF"/>
                    </a:gs>
                    <a:gs pos="100000">
                      <a:srgbClr val="FFFFFF"/>
                    </a:gs>
                  </a:gsLst>
                  <a:lin ang="5400000" scaled="0"/>
                </a:gradFill>
                <a:latin typeface="Segoe UI"/>
              </a:rPr>
              <a:t> can be pinned to the home page</a:t>
            </a:r>
            <a:endParaRPr lang="en-US" sz="1800" b="1" dirty="0">
              <a:solidFill>
                <a:srgbClr val="FFFFFF"/>
              </a:solidFill>
              <a:latin typeface="Segoe UI Light"/>
              <a:ea typeface="Calibri" panose="020F0502020204030204" pitchFamily="34" charset="0"/>
              <a:cs typeface="Times New Roman" panose="02020603050405020304" pitchFamily="18" charset="0"/>
            </a:endParaRPr>
          </a:p>
          <a:p>
            <a:pPr marL="448059" indent="-448059" defTabSz="914126">
              <a:spcAft>
                <a:spcPts val="1764"/>
              </a:spcAft>
              <a:buFont typeface="Wingdings" panose="05000000000000000000" pitchFamily="2" charset="2"/>
              <a:buChar char="à"/>
            </a:pPr>
            <a:r>
              <a:rPr lang="en-US" sz="2399" dirty="0">
                <a:solidFill>
                  <a:srgbClr val="FFFFFF"/>
                </a:solidFill>
                <a:latin typeface="Segoe UI Light"/>
                <a:ea typeface="Calibri" panose="020F0502020204030204" pitchFamily="34" charset="0"/>
                <a:cs typeface="Times New Roman" panose="02020603050405020304" pitchFamily="18" charset="0"/>
              </a:rPr>
              <a:t>Windows app</a:t>
            </a:r>
          </a:p>
          <a:p>
            <a:pPr marL="448059" indent="-448059" defTabSz="914126">
              <a:spcAft>
                <a:spcPts val="1764"/>
              </a:spcAft>
              <a:buFont typeface="Wingdings" panose="05000000000000000000" pitchFamily="2" charset="2"/>
              <a:buChar char="à"/>
            </a:pPr>
            <a:r>
              <a:rPr lang="en-US" sz="2399" b="1" dirty="0">
                <a:solidFill>
                  <a:srgbClr val="FFFFFF"/>
                </a:solidFill>
                <a:latin typeface="Segoe UI Light"/>
                <a:ea typeface="Calibri" panose="020F0502020204030204" pitchFamily="34" charset="0"/>
                <a:cs typeface="Times New Roman" panose="02020603050405020304" pitchFamily="18" charset="0"/>
              </a:rPr>
              <a:t>Web Brower</a:t>
            </a:r>
          </a:p>
        </p:txBody>
      </p:sp>
      <p:pic>
        <p:nvPicPr>
          <p:cNvPr id="12" name="Picture 11"/>
          <p:cNvPicPr>
            <a:picLocks noChangeAspect="1"/>
          </p:cNvPicPr>
          <p:nvPr/>
        </p:nvPicPr>
        <p:blipFill>
          <a:blip r:embed="rId2"/>
          <a:stretch>
            <a:fillRect/>
          </a:stretch>
        </p:blipFill>
        <p:spPr>
          <a:xfrm>
            <a:off x="8087999" y="649134"/>
            <a:ext cx="1914791" cy="664089"/>
          </a:xfrm>
          <a:prstGeom prst="rect">
            <a:avLst/>
          </a:prstGeom>
        </p:spPr>
      </p:pic>
      <p:pic>
        <p:nvPicPr>
          <p:cNvPr id="13" name="Picture 12"/>
          <p:cNvPicPr>
            <a:picLocks noChangeAspect="1"/>
          </p:cNvPicPr>
          <p:nvPr/>
        </p:nvPicPr>
        <p:blipFill>
          <a:blip r:embed="rId3"/>
          <a:stretch>
            <a:fillRect/>
          </a:stretch>
        </p:blipFill>
        <p:spPr>
          <a:xfrm>
            <a:off x="8087999" y="1316977"/>
            <a:ext cx="1924319" cy="571580"/>
          </a:xfrm>
          <a:prstGeom prst="rect">
            <a:avLst/>
          </a:prstGeom>
        </p:spPr>
      </p:pic>
      <p:pic>
        <p:nvPicPr>
          <p:cNvPr id="14" name="Picture 13"/>
          <p:cNvPicPr>
            <a:picLocks noChangeAspect="1"/>
          </p:cNvPicPr>
          <p:nvPr/>
        </p:nvPicPr>
        <p:blipFill>
          <a:blip r:embed="rId4"/>
          <a:stretch>
            <a:fillRect/>
          </a:stretch>
        </p:blipFill>
        <p:spPr>
          <a:xfrm>
            <a:off x="8087998" y="1888304"/>
            <a:ext cx="1914792" cy="571580"/>
          </a:xfrm>
          <a:prstGeom prst="rect">
            <a:avLst/>
          </a:prstGeom>
        </p:spPr>
      </p:pic>
      <p:pic>
        <p:nvPicPr>
          <p:cNvPr id="4" name="Picture 3"/>
          <p:cNvPicPr>
            <a:picLocks noChangeAspect="1"/>
          </p:cNvPicPr>
          <p:nvPr/>
        </p:nvPicPr>
        <p:blipFill>
          <a:blip r:embed="rId5"/>
          <a:stretch>
            <a:fillRect/>
          </a:stretch>
        </p:blipFill>
        <p:spPr>
          <a:xfrm>
            <a:off x="9904349" y="624694"/>
            <a:ext cx="1843315" cy="3277006"/>
          </a:xfrm>
          <a:prstGeom prst="rect">
            <a:avLst/>
          </a:prstGeom>
          <a:ln>
            <a:noFill/>
          </a:ln>
          <a:effectLst>
            <a:outerShdw blurRad="190500" algn="tl" rotWithShape="0">
              <a:srgbClr val="000000">
                <a:alpha val="70000"/>
              </a:srgbClr>
            </a:outerShdw>
          </a:effectLst>
        </p:spPr>
      </p:pic>
      <p:pic>
        <p:nvPicPr>
          <p:cNvPr id="7" name="Picture 2" descr="https://powerapps.microsoft.com/images/page/index/share-apps.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92469" y="3298292"/>
            <a:ext cx="3889955" cy="242939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https://powerapps.microsoft.com/images/page/index/create-custom-apps.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25326" r="24007"/>
          <a:stretch/>
        </p:blipFill>
        <p:spPr bwMode="auto">
          <a:xfrm>
            <a:off x="6538599" y="4661046"/>
            <a:ext cx="3098799" cy="1911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6479642"/>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357745"/>
            <a:ext cx="12192000" cy="42579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1732990" y="63995"/>
            <a:ext cx="8594652" cy="1200329"/>
          </a:xfrm>
          <a:prstGeom prst="rect">
            <a:avLst/>
          </a:prstGeom>
          <a:noFill/>
        </p:spPr>
        <p:txBody>
          <a:bodyPr wrap="square" rtlCol="0">
            <a:spAutoFit/>
          </a:bodyPr>
          <a:lstStyle/>
          <a:p>
            <a:pPr algn="ctr"/>
            <a:r>
              <a:rPr lang="pt-PT" sz="7200" dirty="0">
                <a:solidFill>
                  <a:schemeClr val="tx1">
                    <a:lumMod val="75000"/>
                    <a:lumOff val="25000"/>
                  </a:schemeClr>
                </a:solidFill>
                <a:latin typeface="Gill Sans MT Condensed" panose="020B0506020104020203" pitchFamily="34" charset="0"/>
              </a:rPr>
              <a:t>THANK YOU TO OUR SPONSORS</a:t>
            </a:r>
          </a:p>
        </p:txBody>
      </p:sp>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31990" y="2172356"/>
            <a:ext cx="3000438" cy="783322"/>
          </a:xfrm>
          <a:prstGeom prst="rect">
            <a:avLst/>
          </a:prstGeom>
        </p:spPr>
      </p:pic>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6558" y="1664017"/>
            <a:ext cx="4893381" cy="1800000"/>
          </a:xfrm>
          <a:prstGeom prst="rect">
            <a:avLst/>
          </a:prstGeom>
        </p:spPr>
      </p:pic>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73672" y="4372311"/>
            <a:ext cx="3441600" cy="720000"/>
          </a:xfrm>
          <a:prstGeom prst="rect">
            <a:avLst/>
          </a:prstGeom>
        </p:spPr>
      </p:pic>
      <p:pic>
        <p:nvPicPr>
          <p:cNvPr id="16" name="Pictur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31990" y="3832311"/>
            <a:ext cx="2550118" cy="1260000"/>
          </a:xfrm>
          <a:prstGeom prst="rect">
            <a:avLst/>
          </a:prstGeom>
        </p:spPr>
      </p:pic>
      <p:pic>
        <p:nvPicPr>
          <p:cNvPr id="19" name="Picture 1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126009" y="5781675"/>
            <a:ext cx="1088709" cy="1080000"/>
          </a:xfrm>
          <a:prstGeom prst="rect">
            <a:avLst/>
          </a:prstGeom>
        </p:spPr>
      </p:pic>
    </p:spTree>
    <p:extLst>
      <p:ext uri="{BB962C8B-B14F-4D97-AF65-F5344CB8AC3E}">
        <p14:creationId xmlns:p14="http://schemas.microsoft.com/office/powerpoint/2010/main" val="2815151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520702" y="229440"/>
            <a:ext cx="11149013" cy="1079409"/>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93"/>
            <a:r>
              <a:rPr lang="en-US" sz="5292" dirty="0" err="1">
                <a:gradFill>
                  <a:gsLst>
                    <a:gs pos="1250">
                      <a:srgbClr val="FFFFFF"/>
                    </a:gs>
                    <a:gs pos="100000">
                      <a:srgbClr val="FFFFFF"/>
                    </a:gs>
                  </a:gsLst>
                  <a:lin ang="5400000" scaled="0"/>
                </a:gradFill>
                <a:latin typeface="Segoe UI Light"/>
              </a:rPr>
              <a:t>PowerApps</a:t>
            </a:r>
            <a:r>
              <a:rPr lang="en-US" sz="5292" dirty="0">
                <a:gradFill>
                  <a:gsLst>
                    <a:gs pos="1250">
                      <a:srgbClr val="FFFFFF"/>
                    </a:gs>
                    <a:gs pos="100000">
                      <a:srgbClr val="FFFFFF"/>
                    </a:gs>
                  </a:gsLst>
                  <a:lin ang="5400000" scaled="0"/>
                </a:gradFill>
                <a:latin typeface="Segoe UI Light"/>
              </a:rPr>
              <a:t> and SharePoint</a:t>
            </a:r>
          </a:p>
        </p:txBody>
      </p:sp>
      <p:sp>
        <p:nvSpPr>
          <p:cNvPr id="3" name="Text Placeholder 2"/>
          <p:cNvSpPr txBox="1">
            <a:spLocks/>
          </p:cNvSpPr>
          <p:nvPr/>
        </p:nvSpPr>
        <p:spPr>
          <a:xfrm>
            <a:off x="520702" y="1474764"/>
            <a:ext cx="10339387" cy="3560157"/>
          </a:xfrm>
          <a:prstGeom prst="rect">
            <a:avLst/>
          </a:prstGeom>
        </p:spPr>
        <p:txBody>
          <a:bodyPr vert="horz" wrap="square" lIns="146266" tIns="91416" rIns="146266" bIns="91416"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48059" indent="-448059" defTabSz="914126">
              <a:spcAft>
                <a:spcPts val="1764"/>
              </a:spcAft>
              <a:buFont typeface="Wingdings" panose="05000000000000000000" pitchFamily="2" charset="2"/>
              <a:buChar char="à"/>
            </a:pPr>
            <a:r>
              <a:rPr lang="en-US" sz="2399" dirty="0">
                <a:solidFill>
                  <a:srgbClr val="FFFFFF"/>
                </a:solidFill>
                <a:latin typeface="Segoe UI Light"/>
                <a:ea typeface="Calibri" panose="020F0502020204030204" pitchFamily="34" charset="0"/>
                <a:cs typeface="Times New Roman" panose="02020603050405020304" pitchFamily="18" charset="0"/>
              </a:rPr>
              <a:t>Create new </a:t>
            </a:r>
            <a:r>
              <a:rPr lang="en-US" sz="2399" dirty="0" err="1">
                <a:solidFill>
                  <a:srgbClr val="FFFFFF"/>
                </a:solidFill>
                <a:latin typeface="Segoe UI Light"/>
                <a:ea typeface="Calibri" panose="020F0502020204030204" pitchFamily="34" charset="0"/>
                <a:cs typeface="Times New Roman" panose="02020603050405020304" pitchFamily="18" charset="0"/>
              </a:rPr>
              <a:t>PowerApps</a:t>
            </a:r>
            <a:r>
              <a:rPr lang="en-US" sz="2399" dirty="0">
                <a:solidFill>
                  <a:srgbClr val="FFFFFF"/>
                </a:solidFill>
                <a:latin typeface="Segoe UI Light"/>
                <a:ea typeface="Calibri" panose="020F0502020204030204" pitchFamily="34" charset="0"/>
                <a:cs typeface="Times New Roman" panose="02020603050405020304" pitchFamily="18" charset="0"/>
              </a:rPr>
              <a:t> from your SharePoint Online list in the browser</a:t>
            </a:r>
          </a:p>
          <a:p>
            <a:pPr marL="684605" lvl="1" indent="-448059" defTabSz="914126">
              <a:spcAft>
                <a:spcPts val="1764"/>
              </a:spcAft>
              <a:buFont typeface="Wingdings" panose="05000000000000000000" pitchFamily="2" charset="2"/>
              <a:buChar char="à"/>
            </a:pPr>
            <a:r>
              <a:rPr lang="en-US" sz="1600" dirty="0">
                <a:solidFill>
                  <a:srgbClr val="FFFFFF"/>
                </a:solidFill>
                <a:latin typeface="Segoe UI"/>
                <a:ea typeface="Calibri" panose="020F0502020204030204" pitchFamily="34" charset="0"/>
                <a:cs typeface="Times New Roman" panose="02020603050405020304" pitchFamily="18" charset="0"/>
              </a:rPr>
              <a:t>Simple CRUD operations (Create, Read, Update, Delete)</a:t>
            </a:r>
          </a:p>
          <a:p>
            <a:pPr marL="448059" indent="-448059" defTabSz="914126">
              <a:spcAft>
                <a:spcPts val="1764"/>
              </a:spcAft>
              <a:buFont typeface="Wingdings" panose="05000000000000000000" pitchFamily="2" charset="2"/>
              <a:buChar char="à"/>
            </a:pPr>
            <a:r>
              <a:rPr lang="en-US" sz="2399" dirty="0">
                <a:solidFill>
                  <a:srgbClr val="FFFFFF"/>
                </a:solidFill>
                <a:latin typeface="Segoe UI Light"/>
                <a:ea typeface="Calibri" panose="020F0502020204030204" pitchFamily="34" charset="0"/>
                <a:cs typeface="Times New Roman" panose="02020603050405020304" pitchFamily="18" charset="0"/>
              </a:rPr>
              <a:t>Full read/write support for all </a:t>
            </a:r>
            <a:r>
              <a:rPr lang="en-US" sz="2399" dirty="0" err="1">
                <a:solidFill>
                  <a:srgbClr val="FFFFFF"/>
                </a:solidFill>
                <a:latin typeface="Segoe UI Light"/>
                <a:ea typeface="Calibri" panose="020F0502020204030204" pitchFamily="34" charset="0"/>
                <a:cs typeface="Times New Roman" panose="02020603050405020304" pitchFamily="18" charset="0"/>
              </a:rPr>
              <a:t>Sharepoint</a:t>
            </a:r>
            <a:r>
              <a:rPr lang="en-US" sz="2399" dirty="0">
                <a:solidFill>
                  <a:srgbClr val="FFFFFF"/>
                </a:solidFill>
                <a:latin typeface="Segoe UI Light"/>
                <a:ea typeface="Calibri" panose="020F0502020204030204" pitchFamily="34" charset="0"/>
                <a:cs typeface="Times New Roman" panose="02020603050405020304" pitchFamily="18" charset="0"/>
              </a:rPr>
              <a:t> list data types including Person or Group, Managed Metadata, Lookup, and Multi-select Choice</a:t>
            </a:r>
          </a:p>
          <a:p>
            <a:pPr marL="448059" indent="-448059" defTabSz="914126">
              <a:spcAft>
                <a:spcPts val="1764"/>
              </a:spcAft>
              <a:buFont typeface="Wingdings" panose="05000000000000000000" pitchFamily="2" charset="2"/>
              <a:buChar char="à"/>
            </a:pPr>
            <a:r>
              <a:rPr lang="en-US" sz="2399" dirty="0">
                <a:solidFill>
                  <a:srgbClr val="FFFFFF"/>
                </a:solidFill>
                <a:latin typeface="Segoe UI Light"/>
                <a:ea typeface="Calibri" panose="020F0502020204030204" pitchFamily="34" charset="0"/>
                <a:cs typeface="Times New Roman" panose="02020603050405020304" pitchFamily="18" charset="0"/>
              </a:rPr>
              <a:t>Support for document libraries</a:t>
            </a:r>
          </a:p>
          <a:p>
            <a:pPr marL="448059" indent="-448059" defTabSz="914126">
              <a:spcAft>
                <a:spcPts val="1764"/>
              </a:spcAft>
              <a:buFont typeface="Wingdings" panose="05000000000000000000" pitchFamily="2" charset="2"/>
              <a:buChar char="à"/>
            </a:pPr>
            <a:r>
              <a:rPr lang="en-US" sz="2399" dirty="0">
                <a:solidFill>
                  <a:srgbClr val="FFFFFF"/>
                </a:solidFill>
                <a:latin typeface="Segoe UI Light"/>
                <a:ea typeface="Calibri" panose="020F0502020204030204" pitchFamily="34" charset="0"/>
                <a:cs typeface="Times New Roman" panose="02020603050405020304" pitchFamily="18" charset="0"/>
              </a:rPr>
              <a:t>Access on premise</a:t>
            </a:r>
            <a:br>
              <a:rPr lang="en-US" sz="2399" dirty="0">
                <a:solidFill>
                  <a:srgbClr val="FFFFFF"/>
                </a:solidFill>
                <a:latin typeface="Segoe UI Light"/>
                <a:ea typeface="Calibri" panose="020F0502020204030204" pitchFamily="34" charset="0"/>
                <a:cs typeface="Times New Roman" panose="02020603050405020304" pitchFamily="18" charset="0"/>
              </a:rPr>
            </a:br>
            <a:r>
              <a:rPr lang="en-US" sz="2399" dirty="0">
                <a:solidFill>
                  <a:srgbClr val="FFFFFF"/>
                </a:solidFill>
                <a:latin typeface="Segoe UI Light"/>
                <a:ea typeface="Calibri" panose="020F0502020204030204" pitchFamily="34" charset="0"/>
                <a:cs typeface="Times New Roman" panose="02020603050405020304" pitchFamily="18" charset="0"/>
              </a:rPr>
              <a:t>using Gateways</a:t>
            </a:r>
          </a:p>
        </p:txBody>
      </p:sp>
      <p:pic>
        <p:nvPicPr>
          <p:cNvPr id="5" name="Picture 4"/>
          <p:cNvPicPr>
            <a:picLocks noChangeAspect="1"/>
          </p:cNvPicPr>
          <p:nvPr/>
        </p:nvPicPr>
        <p:blipFill>
          <a:blip r:embed="rId2"/>
          <a:stretch>
            <a:fillRect/>
          </a:stretch>
        </p:blipFill>
        <p:spPr>
          <a:xfrm>
            <a:off x="5109393" y="4037428"/>
            <a:ext cx="7081021" cy="2980664"/>
          </a:xfrm>
          <a:prstGeom prst="rect">
            <a:avLst/>
          </a:prstGeom>
        </p:spPr>
      </p:pic>
      <p:sp>
        <p:nvSpPr>
          <p:cNvPr id="9" name="Rectangle 8"/>
          <p:cNvSpPr/>
          <p:nvPr/>
        </p:nvSpPr>
        <p:spPr bwMode="auto">
          <a:xfrm>
            <a:off x="7741852" y="4815286"/>
            <a:ext cx="1816100" cy="607095"/>
          </a:xfrm>
          <a:prstGeom prst="rect">
            <a:avLst/>
          </a:prstGeom>
          <a:noFill/>
          <a:ln w="28575">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pt-PT"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Rectangle 7"/>
          <p:cNvSpPr/>
          <p:nvPr/>
        </p:nvSpPr>
        <p:spPr>
          <a:xfrm>
            <a:off x="420848" y="5369985"/>
            <a:ext cx="4038440" cy="1200329"/>
          </a:xfrm>
          <a:prstGeom prst="rect">
            <a:avLst/>
          </a:prstGeom>
        </p:spPr>
        <p:txBody>
          <a:bodyPr wrap="square">
            <a:spAutoFit/>
          </a:bodyPr>
          <a:lstStyle/>
          <a:p>
            <a:pPr defTabSz="914363"/>
            <a:r>
              <a:rPr lang="en-US" sz="1200" dirty="0">
                <a:solidFill>
                  <a:srgbClr val="FFFFFF"/>
                </a:solidFill>
                <a:latin typeface="Segoe UI Light"/>
                <a:ea typeface="Calibri" panose="020F0502020204030204" pitchFamily="34" charset="0"/>
                <a:cs typeface="Times New Roman" panose="02020603050405020304" pitchFamily="18" charset="0"/>
              </a:rPr>
              <a:t>https://powerapps.microsoft.com/en-us/blog/powerapps-and-sharepoint</a:t>
            </a:r>
          </a:p>
          <a:p>
            <a:pPr defTabSz="914363"/>
            <a:endParaRPr lang="en-US" sz="1200" dirty="0">
              <a:solidFill>
                <a:srgbClr val="FFFFFF"/>
              </a:solidFill>
              <a:latin typeface="Segoe UI Light"/>
              <a:ea typeface="Calibri" panose="020F0502020204030204" pitchFamily="34" charset="0"/>
              <a:cs typeface="Times New Roman" panose="02020603050405020304" pitchFamily="18" charset="0"/>
            </a:endParaRPr>
          </a:p>
          <a:p>
            <a:pPr defTabSz="914363"/>
            <a:r>
              <a:rPr lang="pt-PT" sz="1200" dirty="0">
                <a:solidFill>
                  <a:srgbClr val="FFFFFF"/>
                </a:solidFill>
                <a:latin typeface="Segoe UI Light"/>
                <a:ea typeface="Calibri" panose="020F0502020204030204" pitchFamily="34" charset="0"/>
                <a:cs typeface="Times New Roman" panose="02020603050405020304" pitchFamily="18" charset="0"/>
              </a:rPr>
              <a:t>https://powerapps.microsoft.com/en-us/blog/connect-to-your-on-premises-data-sources-using-on-premises-data-gateway-from-powerapps/</a:t>
            </a:r>
          </a:p>
        </p:txBody>
      </p:sp>
    </p:spTree>
    <p:extLst>
      <p:ext uri="{BB962C8B-B14F-4D97-AF65-F5344CB8AC3E}">
        <p14:creationId xmlns:p14="http://schemas.microsoft.com/office/powerpoint/2010/main" val="3346003084"/>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520702" y="229440"/>
            <a:ext cx="11149013" cy="1079409"/>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93"/>
            <a:r>
              <a:rPr lang="en-US" sz="4800" dirty="0">
                <a:gradFill>
                  <a:gsLst>
                    <a:gs pos="1250">
                      <a:prstClr val="white"/>
                    </a:gs>
                    <a:gs pos="100000">
                      <a:prstClr val="white"/>
                    </a:gs>
                  </a:gsLst>
                  <a:lin ang="5400000" scaled="0"/>
                </a:gradFill>
                <a:latin typeface="Segoe UI Light"/>
              </a:rPr>
              <a:t>On-Premises Data Gateway</a:t>
            </a:r>
            <a:endParaRPr lang="en-US" sz="5292" dirty="0">
              <a:gradFill>
                <a:gsLst>
                  <a:gs pos="1250">
                    <a:srgbClr val="FFFFFF"/>
                  </a:gs>
                  <a:gs pos="100000">
                    <a:srgbClr val="FFFFFF"/>
                  </a:gs>
                </a:gsLst>
                <a:lin ang="5400000" scaled="0"/>
              </a:gradFill>
              <a:latin typeface="Segoe UI Light"/>
            </a:endParaRPr>
          </a:p>
        </p:txBody>
      </p:sp>
      <p:sp>
        <p:nvSpPr>
          <p:cNvPr id="3" name="Text Placeholder 2"/>
          <p:cNvSpPr txBox="1">
            <a:spLocks/>
          </p:cNvSpPr>
          <p:nvPr/>
        </p:nvSpPr>
        <p:spPr>
          <a:xfrm>
            <a:off x="520702" y="1474763"/>
            <a:ext cx="10339387" cy="2929600"/>
          </a:xfrm>
          <a:prstGeom prst="rect">
            <a:avLst/>
          </a:prstGeom>
        </p:spPr>
        <p:txBody>
          <a:bodyPr vert="horz" wrap="square" lIns="146266" tIns="91416" rIns="146266" bIns="91416"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48059" indent="-448059" defTabSz="914126">
              <a:spcAft>
                <a:spcPts val="1764"/>
              </a:spcAft>
              <a:buFont typeface="Wingdings" panose="05000000000000000000" pitchFamily="2" charset="2"/>
              <a:buChar char="à"/>
            </a:pPr>
            <a:r>
              <a:rPr lang="en-US" sz="2399" dirty="0">
                <a:solidFill>
                  <a:srgbClr val="FFFFFF"/>
                </a:solidFill>
                <a:latin typeface="Segoe UI Light"/>
                <a:ea typeface="Calibri" panose="020F0502020204030204" pitchFamily="34" charset="0"/>
                <a:cs typeface="Times New Roman" panose="02020603050405020304" pitchFamily="18" charset="0"/>
              </a:rPr>
              <a:t>Supports…</a:t>
            </a:r>
          </a:p>
          <a:p>
            <a:pPr marL="684605" lvl="1" indent="-448059" defTabSz="914126">
              <a:spcAft>
                <a:spcPts val="1764"/>
              </a:spcAft>
              <a:buFont typeface="Wingdings" panose="05000000000000000000" pitchFamily="2" charset="2"/>
              <a:buChar char="à"/>
            </a:pPr>
            <a:r>
              <a:rPr lang="en-US" sz="2000" dirty="0">
                <a:solidFill>
                  <a:srgbClr val="FFFFFF"/>
                </a:solidFill>
                <a:latin typeface="Segoe UI"/>
                <a:ea typeface="Calibri" panose="020F0502020204030204" pitchFamily="34" charset="0"/>
                <a:cs typeface="Times New Roman" panose="02020603050405020304" pitchFamily="18" charset="0"/>
              </a:rPr>
              <a:t>SharePoint 2016</a:t>
            </a:r>
          </a:p>
          <a:p>
            <a:pPr marL="684605" lvl="1" indent="-448059" defTabSz="914126">
              <a:spcAft>
                <a:spcPts val="1764"/>
              </a:spcAft>
              <a:buFont typeface="Wingdings" panose="05000000000000000000" pitchFamily="2" charset="2"/>
              <a:buChar char="à"/>
            </a:pPr>
            <a:r>
              <a:rPr lang="en-US" sz="2000" dirty="0">
                <a:solidFill>
                  <a:srgbClr val="FFFFFF"/>
                </a:solidFill>
                <a:latin typeface="Segoe UI"/>
                <a:ea typeface="Calibri" panose="020F0502020204030204" pitchFamily="34" charset="0"/>
                <a:cs typeface="Times New Roman" panose="02020603050405020304" pitchFamily="18" charset="0"/>
              </a:rPr>
              <a:t>SQL Server 2016</a:t>
            </a:r>
            <a:endParaRPr lang="en-US" sz="2399" dirty="0">
              <a:solidFill>
                <a:srgbClr val="FFFFFF"/>
              </a:solidFill>
              <a:latin typeface="Segoe UI"/>
              <a:ea typeface="Calibri" panose="020F0502020204030204" pitchFamily="34" charset="0"/>
              <a:cs typeface="Times New Roman" panose="02020603050405020304" pitchFamily="18" charset="0"/>
            </a:endParaRPr>
          </a:p>
          <a:p>
            <a:pPr marL="448059" indent="-448059" defTabSz="914126">
              <a:spcAft>
                <a:spcPts val="1764"/>
              </a:spcAft>
              <a:buFont typeface="Wingdings" panose="05000000000000000000" pitchFamily="2" charset="2"/>
              <a:buChar char="à"/>
            </a:pPr>
            <a:r>
              <a:rPr lang="en-US" sz="2399" dirty="0">
                <a:solidFill>
                  <a:srgbClr val="FFFFFF"/>
                </a:solidFill>
                <a:latin typeface="Segoe UI Light"/>
                <a:ea typeface="Calibri" panose="020F0502020204030204" pitchFamily="34" charset="0"/>
                <a:cs typeface="Times New Roman" panose="02020603050405020304" pitchFamily="18" charset="0"/>
              </a:rPr>
              <a:t>Machine should always be accessible</a:t>
            </a:r>
          </a:p>
          <a:p>
            <a:pPr marL="448059" indent="-448059" defTabSz="914126">
              <a:spcAft>
                <a:spcPts val="1764"/>
              </a:spcAft>
              <a:buFont typeface="Wingdings" panose="05000000000000000000" pitchFamily="2" charset="2"/>
              <a:buChar char="à"/>
            </a:pPr>
            <a:r>
              <a:rPr lang="en-US" sz="2399" dirty="0">
                <a:solidFill>
                  <a:srgbClr val="FFFFFF"/>
                </a:solidFill>
                <a:latin typeface="Segoe UI Light"/>
                <a:ea typeface="Calibri" panose="020F0502020204030204" pitchFamily="34" charset="0"/>
                <a:cs typeface="Times New Roman" panose="02020603050405020304" pitchFamily="18" charset="0"/>
              </a:rPr>
              <a:t>Can’t install on a domain controller</a:t>
            </a:r>
          </a:p>
        </p:txBody>
      </p:sp>
      <p:pic>
        <p:nvPicPr>
          <p:cNvPr id="4" name="Picture 3"/>
          <p:cNvPicPr>
            <a:picLocks noChangeAspect="1"/>
          </p:cNvPicPr>
          <p:nvPr/>
        </p:nvPicPr>
        <p:blipFill>
          <a:blip r:embed="rId2"/>
          <a:stretch>
            <a:fillRect/>
          </a:stretch>
        </p:blipFill>
        <p:spPr>
          <a:xfrm>
            <a:off x="1105121" y="4570279"/>
            <a:ext cx="4467225" cy="2143125"/>
          </a:xfrm>
          <a:prstGeom prst="rect">
            <a:avLst/>
          </a:prstGeom>
          <a:ln>
            <a:noFill/>
          </a:ln>
          <a:effectLst>
            <a:outerShdw blurRad="190500" algn="tl" rotWithShape="0">
              <a:srgbClr val="000000">
                <a:alpha val="70000"/>
              </a:srgbClr>
            </a:outerShdw>
          </a:effectLst>
        </p:spPr>
      </p:pic>
      <p:pic>
        <p:nvPicPr>
          <p:cNvPr id="3074" name="Picture 2" descr="How it work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5207" y="1504074"/>
            <a:ext cx="5734050" cy="35052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6" name="Rectangle 5"/>
          <p:cNvSpPr/>
          <p:nvPr/>
        </p:nvSpPr>
        <p:spPr>
          <a:xfrm>
            <a:off x="6053004" y="5469207"/>
            <a:ext cx="5920190" cy="756874"/>
          </a:xfrm>
          <a:prstGeom prst="rect">
            <a:avLst/>
          </a:prstGeom>
        </p:spPr>
        <p:txBody>
          <a:bodyPr wrap="square">
            <a:spAutoFit/>
          </a:bodyPr>
          <a:lstStyle/>
          <a:p>
            <a:pPr defTabSz="914126">
              <a:lnSpc>
                <a:spcPct val="90000"/>
              </a:lnSpc>
              <a:spcBef>
                <a:spcPct val="20000"/>
              </a:spcBef>
              <a:spcAft>
                <a:spcPts val="1764"/>
              </a:spcAft>
              <a:buSzPct val="90000"/>
            </a:pPr>
            <a:r>
              <a:rPr lang="en-US" sz="2399" dirty="0">
                <a:solidFill>
                  <a:srgbClr val="FFFFFF"/>
                </a:solidFill>
                <a:latin typeface="Segoe UI Light"/>
                <a:ea typeface="Calibri" panose="020F0502020204030204" pitchFamily="34" charset="0"/>
                <a:cs typeface="Times New Roman" panose="02020603050405020304" pitchFamily="18" charset="0"/>
              </a:rPr>
              <a:t>Same technology used by Power BI, </a:t>
            </a:r>
            <a:r>
              <a:rPr lang="en-US" sz="2399" dirty="0" err="1">
                <a:solidFill>
                  <a:srgbClr val="FFFFFF"/>
                </a:solidFill>
                <a:latin typeface="Segoe UI Light"/>
                <a:ea typeface="Calibri" panose="020F0502020204030204" pitchFamily="34" charset="0"/>
                <a:cs typeface="Times New Roman" panose="02020603050405020304" pitchFamily="18" charset="0"/>
              </a:rPr>
              <a:t>PowerApps</a:t>
            </a:r>
            <a:r>
              <a:rPr lang="en-US" sz="2399" dirty="0">
                <a:solidFill>
                  <a:srgbClr val="FFFFFF"/>
                </a:solidFill>
                <a:latin typeface="Segoe UI Light"/>
                <a:ea typeface="Calibri" panose="020F0502020204030204" pitchFamily="34" charset="0"/>
                <a:cs typeface="Times New Roman" panose="02020603050405020304" pitchFamily="18" charset="0"/>
              </a:rPr>
              <a:t>, and Microsoft Flow</a:t>
            </a:r>
          </a:p>
        </p:txBody>
      </p:sp>
    </p:spTree>
    <p:extLst>
      <p:ext uri="{BB962C8B-B14F-4D97-AF65-F5344CB8AC3E}">
        <p14:creationId xmlns:p14="http://schemas.microsoft.com/office/powerpoint/2010/main" val="2723638404"/>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42017" y="-29131"/>
            <a:ext cx="12560259" cy="6893977"/>
          </a:xfrm>
          <a:prstGeom prst="rect">
            <a:avLst/>
          </a:prstGeom>
        </p:spPr>
      </p:pic>
      <p:sp>
        <p:nvSpPr>
          <p:cNvPr id="4" name="Text Placeholder 8"/>
          <p:cNvSpPr txBox="1">
            <a:spLocks/>
          </p:cNvSpPr>
          <p:nvPr/>
        </p:nvSpPr>
        <p:spPr>
          <a:xfrm>
            <a:off x="-42017" y="5824026"/>
            <a:ext cx="12560259" cy="914096"/>
          </a:xfrm>
          <a:prstGeom prst="rect">
            <a:avLst/>
          </a:prstGeom>
        </p:spPr>
        <p:txBody>
          <a:bodyPr vert="horz" lIns="91440" tIns="45720" rIns="91440" bIns="45720" rtlCol="0" anchor="ctr"/>
          <a:lstStyle>
            <a:defPPr>
              <a:defRPr lang="en-US"/>
            </a:defPPr>
            <a:lvl1pPr marL="0" algn="ctr" defTabSz="914363" rtl="0" eaLnBrk="1" latinLnBrk="0" hangingPunct="1">
              <a:defRPr sz="1200" kern="1200">
                <a:solidFill>
                  <a:schemeClr val="tx1">
                    <a:tint val="75000"/>
                  </a:schemeClr>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5400" dirty="0" err="1">
                <a:solidFill>
                  <a:prstClr val="white"/>
                </a:solidFill>
                <a:latin typeface="Segoe UI"/>
              </a:rPr>
              <a:t>PowerApps</a:t>
            </a:r>
            <a:r>
              <a:rPr lang="en-US" sz="5400" dirty="0">
                <a:solidFill>
                  <a:prstClr val="white"/>
                </a:solidFill>
                <a:latin typeface="Segoe UI"/>
              </a:rPr>
              <a:t> – How can I do it?</a:t>
            </a:r>
          </a:p>
        </p:txBody>
      </p:sp>
    </p:spTree>
    <p:extLst>
      <p:ext uri="{BB962C8B-B14F-4D97-AF65-F5344CB8AC3E}">
        <p14:creationId xmlns:p14="http://schemas.microsoft.com/office/powerpoint/2010/main" val="1545462591"/>
      </p:ext>
    </p:extLst>
  </p:cSld>
  <p:clrMapOvr>
    <a:masterClrMapping/>
  </p:clrMapOvr>
  <p:transition spd="slow">
    <p:cove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7200" dirty="0"/>
              <a:t>Introduction to Flow </a:t>
            </a:r>
            <a:br>
              <a:rPr lang="en-US" sz="7200" dirty="0"/>
            </a:br>
            <a:r>
              <a:rPr lang="en-US" sz="3200" dirty="0"/>
              <a:t>Automated workflows between apps and services</a:t>
            </a:r>
            <a:br>
              <a:rPr lang="en-US" sz="3200" dirty="0"/>
            </a:br>
            <a:r>
              <a:rPr lang="en-US" sz="3200" dirty="0"/>
              <a:t>Cross-platform data exchange </a:t>
            </a:r>
          </a:p>
        </p:txBody>
      </p:sp>
    </p:spTree>
    <p:extLst>
      <p:ext uri="{BB962C8B-B14F-4D97-AF65-F5344CB8AC3E}">
        <p14:creationId xmlns:p14="http://schemas.microsoft.com/office/powerpoint/2010/main" val="4292746690"/>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t="32035" r="36507" b="14417"/>
          <a:stretch/>
        </p:blipFill>
        <p:spPr>
          <a:xfrm>
            <a:off x="1589" y="893"/>
            <a:ext cx="12188825" cy="6856214"/>
          </a:xfrm>
          <a:prstGeom prst="rect">
            <a:avLst/>
          </a:prstGeom>
        </p:spPr>
      </p:pic>
      <p:sp>
        <p:nvSpPr>
          <p:cNvPr id="7" name="Rectangle 6"/>
          <p:cNvSpPr/>
          <p:nvPr/>
        </p:nvSpPr>
        <p:spPr>
          <a:xfrm>
            <a:off x="1588" y="893"/>
            <a:ext cx="12188824" cy="6856214"/>
          </a:xfrm>
          <a:prstGeom prst="rect">
            <a:avLst/>
          </a:prstGeom>
          <a:solidFill>
            <a:schemeClr val="tx1">
              <a:lumMod val="95000"/>
              <a:lumOff val="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prstClr val="white"/>
              </a:solidFill>
              <a:latin typeface="Calibri" panose="020F0502020204030204"/>
            </a:endParaRPr>
          </a:p>
        </p:txBody>
      </p:sp>
      <p:sp>
        <p:nvSpPr>
          <p:cNvPr id="9" name="TextBox 8"/>
          <p:cNvSpPr txBox="1"/>
          <p:nvPr/>
        </p:nvSpPr>
        <p:spPr>
          <a:xfrm>
            <a:off x="1953096" y="2983625"/>
            <a:ext cx="8285808" cy="1200016"/>
          </a:xfrm>
          <a:prstGeom prst="rect">
            <a:avLst/>
          </a:prstGeom>
          <a:noFill/>
        </p:spPr>
        <p:txBody>
          <a:bodyPr wrap="square" rtlCol="0">
            <a:spAutoFit/>
          </a:bodyPr>
          <a:lstStyle/>
          <a:p>
            <a:pPr algn="ctr" defTabSz="914126"/>
            <a:r>
              <a:rPr lang="en-US" sz="3599" dirty="0">
                <a:solidFill>
                  <a:prstClr val="white"/>
                </a:solidFill>
                <a:latin typeface="Segoe UI" panose="020B0502040204020203" pitchFamily="34" charset="0"/>
                <a:cs typeface="Segoe UI" panose="020B0502040204020203" pitchFamily="34" charset="0"/>
              </a:rPr>
              <a:t>Most business integration challenges today are met with a single solution</a:t>
            </a:r>
          </a:p>
        </p:txBody>
      </p:sp>
    </p:spTree>
    <p:extLst>
      <p:ext uri="{BB962C8B-B14F-4D97-AF65-F5344CB8AC3E}">
        <p14:creationId xmlns:p14="http://schemas.microsoft.com/office/powerpoint/2010/main" val="2158246285"/>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34563" y="893"/>
            <a:ext cx="13200238" cy="7165480"/>
            <a:chOff x="6018179" y="0"/>
            <a:chExt cx="13203676" cy="7167346"/>
          </a:xfrm>
        </p:grpSpPr>
        <p:pic>
          <p:nvPicPr>
            <p:cNvPr id="4" name="Picture 3"/>
            <p:cNvPicPr>
              <a:picLocks noChangeAspect="1"/>
            </p:cNvPicPr>
            <p:nvPr/>
          </p:nvPicPr>
          <p:blipFill rotWithShape="1">
            <a:blip r:embed="rId3"/>
            <a:srcRect l="32049" t="32035" r="-101" b="12002"/>
            <a:stretch/>
          </p:blipFill>
          <p:spPr>
            <a:xfrm>
              <a:off x="6154365" y="0"/>
              <a:ext cx="13067490" cy="7167346"/>
            </a:xfrm>
            <a:prstGeom prst="rect">
              <a:avLst/>
            </a:prstGeom>
          </p:spPr>
        </p:pic>
        <p:sp>
          <p:nvSpPr>
            <p:cNvPr id="7" name="Rectangle 6"/>
            <p:cNvSpPr/>
            <p:nvPr/>
          </p:nvSpPr>
          <p:spPr>
            <a:xfrm>
              <a:off x="6018179" y="0"/>
              <a:ext cx="13203676" cy="7167346"/>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prstClr val="white"/>
                </a:solidFill>
                <a:latin typeface="Calibri" panose="020F0502020204030204"/>
              </a:endParaRPr>
            </a:p>
          </p:txBody>
        </p:sp>
      </p:grpSp>
      <p:pic>
        <p:nvPicPr>
          <p:cNvPr id="10" name="Picture 9"/>
          <p:cNvPicPr>
            <a:picLocks noChangeAspect="1"/>
          </p:cNvPicPr>
          <p:nvPr/>
        </p:nvPicPr>
        <p:blipFill>
          <a:blip r:embed="rId4"/>
          <a:stretch>
            <a:fillRect/>
          </a:stretch>
        </p:blipFill>
        <p:spPr>
          <a:xfrm>
            <a:off x="3573952" y="753432"/>
            <a:ext cx="5044096" cy="5351136"/>
          </a:xfrm>
          <a:prstGeom prst="rect">
            <a:avLst/>
          </a:prstGeom>
        </p:spPr>
      </p:pic>
      <p:sp>
        <p:nvSpPr>
          <p:cNvPr id="9" name="TextBox 8"/>
          <p:cNvSpPr txBox="1"/>
          <p:nvPr/>
        </p:nvSpPr>
        <p:spPr>
          <a:xfrm>
            <a:off x="4608057" y="2762848"/>
            <a:ext cx="2975889" cy="1015399"/>
          </a:xfrm>
          <a:prstGeom prst="rect">
            <a:avLst/>
          </a:prstGeom>
          <a:noFill/>
        </p:spPr>
        <p:txBody>
          <a:bodyPr wrap="square" rtlCol="0">
            <a:spAutoFit/>
          </a:bodyPr>
          <a:lstStyle/>
          <a:p>
            <a:pPr algn="ctr" defTabSz="914126"/>
            <a:r>
              <a:rPr lang="en-US" sz="5998" b="1" dirty="0">
                <a:solidFill>
                  <a:prstClr val="black"/>
                </a:solidFill>
                <a:latin typeface="Segoe UI" panose="020B0502040204020203" pitchFamily="34" charset="0"/>
                <a:cs typeface="Segoe UI" panose="020B0502040204020203" pitchFamily="34" charset="0"/>
              </a:rPr>
              <a:t>People</a:t>
            </a:r>
          </a:p>
        </p:txBody>
      </p:sp>
    </p:spTree>
    <p:extLst>
      <p:ext uri="{BB962C8B-B14F-4D97-AF65-F5344CB8AC3E}">
        <p14:creationId xmlns:p14="http://schemas.microsoft.com/office/powerpoint/2010/main" val="35518346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circle(in)">
                                      <p:cBhvr>
                                        <p:cTn id="7"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632740" y="1114869"/>
            <a:ext cx="10926518" cy="1138476"/>
          </a:xfrm>
          <a:prstGeom prst="rect">
            <a:avLst/>
          </a:prstGeom>
          <a:noFill/>
        </p:spPr>
        <p:txBody>
          <a:bodyPr wrap="square" rtlCol="0">
            <a:spAutoFit/>
          </a:bodyPr>
          <a:lstStyle/>
          <a:p>
            <a:pPr algn="ctr" defTabSz="914126"/>
            <a:r>
              <a:rPr lang="en-US" sz="3399" dirty="0">
                <a:solidFill>
                  <a:prstClr val="black"/>
                </a:solidFill>
                <a:latin typeface="Segoe UI Light" panose="020B0502040204020203" pitchFamily="34" charset="0"/>
                <a:cs typeface="Segoe UI Light" panose="020B0502040204020203" pitchFamily="34" charset="0"/>
              </a:rPr>
              <a:t>Microsoft Flow helps </a:t>
            </a:r>
            <a:r>
              <a:rPr lang="en-US" sz="3399" b="1" u="sng" dirty="0">
                <a:solidFill>
                  <a:prstClr val="black"/>
                </a:solidFill>
                <a:latin typeface="Segoe UI Light" panose="020B0502040204020203" pitchFamily="34" charset="0"/>
                <a:cs typeface="Segoe UI Light" panose="020B0502040204020203" pitchFamily="34" charset="0"/>
              </a:rPr>
              <a:t>non-developers </a:t>
            </a:r>
            <a:r>
              <a:rPr lang="en-US" sz="3399" dirty="0">
                <a:solidFill>
                  <a:prstClr val="black"/>
                </a:solidFill>
                <a:latin typeface="Segoe UI Light" panose="020B0502040204020203" pitchFamily="34" charset="0"/>
                <a:cs typeface="Segoe UI Light" panose="020B0502040204020203" pitchFamily="34" charset="0"/>
              </a:rPr>
              <a:t>work smarter by automating workflows across apps and services</a:t>
            </a:r>
          </a:p>
        </p:txBody>
      </p:sp>
      <p:grpSp>
        <p:nvGrpSpPr>
          <p:cNvPr id="17" name="Group 16"/>
          <p:cNvGrpSpPr/>
          <p:nvPr/>
        </p:nvGrpSpPr>
        <p:grpSpPr>
          <a:xfrm>
            <a:off x="1175562" y="2988760"/>
            <a:ext cx="2050182" cy="2694170"/>
            <a:chOff x="1174280" y="2786514"/>
            <a:chExt cx="2050716" cy="2694872"/>
          </a:xfrm>
        </p:grpSpPr>
        <p:pic>
          <p:nvPicPr>
            <p:cNvPr id="6" name="Picture 5"/>
            <p:cNvPicPr>
              <a:picLocks noChangeAspect="1"/>
            </p:cNvPicPr>
            <p:nvPr/>
          </p:nvPicPr>
          <p:blipFill rotWithShape="1">
            <a:blip r:embed="rId3"/>
            <a:srcRect l="7342" t="6511" r="8821" b="8019"/>
            <a:stretch/>
          </p:blipFill>
          <p:spPr>
            <a:xfrm>
              <a:off x="1174280" y="2786514"/>
              <a:ext cx="2050716" cy="2050716"/>
            </a:xfrm>
            <a:prstGeom prst="ellipse">
              <a:avLst/>
            </a:prstGeom>
          </p:spPr>
        </p:pic>
        <p:sp>
          <p:nvSpPr>
            <p:cNvPr id="11" name="TextBox 10"/>
            <p:cNvSpPr txBox="1"/>
            <p:nvPr/>
          </p:nvSpPr>
          <p:spPr>
            <a:xfrm>
              <a:off x="1272942" y="5112054"/>
              <a:ext cx="1853392" cy="369332"/>
            </a:xfrm>
            <a:prstGeom prst="rect">
              <a:avLst/>
            </a:prstGeom>
            <a:noFill/>
          </p:spPr>
          <p:txBody>
            <a:bodyPr wrap="none" rtlCol="0">
              <a:spAutoFit/>
            </a:bodyPr>
            <a:lstStyle/>
            <a:p>
              <a:pPr defTabSz="914126"/>
              <a:r>
                <a:rPr lang="en-US" sz="1799" dirty="0">
                  <a:solidFill>
                    <a:srgbClr val="0078D7"/>
                  </a:solidFill>
                  <a:latin typeface="Segoe UI" panose="020B0502040204020203" pitchFamily="34" charset="0"/>
                  <a:cs typeface="Segoe UI" panose="020B0502040204020203" pitchFamily="34" charset="0"/>
                </a:rPr>
                <a:t>Get notifications</a:t>
              </a:r>
            </a:p>
          </p:txBody>
        </p:sp>
      </p:grpSp>
      <p:grpSp>
        <p:nvGrpSpPr>
          <p:cNvPr id="18" name="Group 17"/>
          <p:cNvGrpSpPr/>
          <p:nvPr/>
        </p:nvGrpSpPr>
        <p:grpSpPr>
          <a:xfrm>
            <a:off x="3772458" y="2988760"/>
            <a:ext cx="2050182" cy="2694170"/>
            <a:chOff x="3771853" y="2786514"/>
            <a:chExt cx="2050716" cy="2694872"/>
          </a:xfrm>
        </p:grpSpPr>
        <p:pic>
          <p:nvPicPr>
            <p:cNvPr id="7" name="Picture 6"/>
            <p:cNvPicPr>
              <a:picLocks noChangeAspect="1"/>
            </p:cNvPicPr>
            <p:nvPr/>
          </p:nvPicPr>
          <p:blipFill rotWithShape="1">
            <a:blip r:embed="rId4"/>
            <a:srcRect l="3252" t="3415" r="3929" b="4091"/>
            <a:stretch/>
          </p:blipFill>
          <p:spPr>
            <a:xfrm>
              <a:off x="3771853" y="2786514"/>
              <a:ext cx="2050716" cy="2050716"/>
            </a:xfrm>
            <a:prstGeom prst="ellipse">
              <a:avLst/>
            </a:prstGeom>
          </p:spPr>
        </p:pic>
        <p:sp>
          <p:nvSpPr>
            <p:cNvPr id="12" name="TextBox 11"/>
            <p:cNvSpPr txBox="1"/>
            <p:nvPr/>
          </p:nvSpPr>
          <p:spPr>
            <a:xfrm>
              <a:off x="3862661" y="5112054"/>
              <a:ext cx="1869101" cy="369332"/>
            </a:xfrm>
            <a:prstGeom prst="rect">
              <a:avLst/>
            </a:prstGeom>
            <a:noFill/>
          </p:spPr>
          <p:txBody>
            <a:bodyPr wrap="none" rtlCol="0">
              <a:spAutoFit/>
            </a:bodyPr>
            <a:lstStyle/>
            <a:p>
              <a:pPr defTabSz="914126"/>
              <a:r>
                <a:rPr lang="en-US" sz="1799" dirty="0">
                  <a:solidFill>
                    <a:srgbClr val="0078D7"/>
                  </a:solidFill>
                  <a:latin typeface="Segoe UI" panose="020B0502040204020203" pitchFamily="34" charset="0"/>
                  <a:cs typeface="Segoe UI" panose="020B0502040204020203" pitchFamily="34" charset="0"/>
                </a:rPr>
                <a:t>Synchronize files</a:t>
              </a:r>
            </a:p>
          </p:txBody>
        </p:sp>
      </p:grpSp>
      <p:grpSp>
        <p:nvGrpSpPr>
          <p:cNvPr id="19" name="Group 18"/>
          <p:cNvGrpSpPr/>
          <p:nvPr/>
        </p:nvGrpSpPr>
        <p:grpSpPr>
          <a:xfrm>
            <a:off x="6369356" y="2988762"/>
            <a:ext cx="2050182" cy="2694169"/>
            <a:chOff x="6369427" y="2786515"/>
            <a:chExt cx="2050716" cy="2694871"/>
          </a:xfrm>
        </p:grpSpPr>
        <p:pic>
          <p:nvPicPr>
            <p:cNvPr id="8" name="Picture 7"/>
            <p:cNvPicPr>
              <a:picLocks noChangeAspect="1"/>
            </p:cNvPicPr>
            <p:nvPr/>
          </p:nvPicPr>
          <p:blipFill rotWithShape="1">
            <a:blip r:embed="rId5"/>
            <a:srcRect l="2381" t="5263" r="4946" b="5217"/>
            <a:stretch/>
          </p:blipFill>
          <p:spPr>
            <a:xfrm>
              <a:off x="6369427" y="2786515"/>
              <a:ext cx="2050716" cy="2050714"/>
            </a:xfrm>
            <a:prstGeom prst="ellipse">
              <a:avLst/>
            </a:prstGeom>
          </p:spPr>
        </p:pic>
        <p:sp>
          <p:nvSpPr>
            <p:cNvPr id="13" name="TextBox 12"/>
            <p:cNvSpPr txBox="1"/>
            <p:nvPr/>
          </p:nvSpPr>
          <p:spPr>
            <a:xfrm>
              <a:off x="6698921" y="5112054"/>
              <a:ext cx="1391728" cy="369332"/>
            </a:xfrm>
            <a:prstGeom prst="rect">
              <a:avLst/>
            </a:prstGeom>
            <a:noFill/>
          </p:spPr>
          <p:txBody>
            <a:bodyPr wrap="none" rtlCol="0">
              <a:spAutoFit/>
            </a:bodyPr>
            <a:lstStyle/>
            <a:p>
              <a:pPr defTabSz="914126"/>
              <a:r>
                <a:rPr lang="en-US" sz="1799" dirty="0">
                  <a:solidFill>
                    <a:srgbClr val="0078D7"/>
                  </a:solidFill>
                  <a:latin typeface="Segoe UI" panose="020B0502040204020203" pitchFamily="34" charset="0"/>
                  <a:cs typeface="Segoe UI" panose="020B0502040204020203" pitchFamily="34" charset="0"/>
                </a:rPr>
                <a:t>Collect data</a:t>
              </a:r>
            </a:p>
          </p:txBody>
        </p:sp>
      </p:grpSp>
      <p:grpSp>
        <p:nvGrpSpPr>
          <p:cNvPr id="20" name="Group 19"/>
          <p:cNvGrpSpPr/>
          <p:nvPr/>
        </p:nvGrpSpPr>
        <p:grpSpPr>
          <a:xfrm>
            <a:off x="8950655" y="2988760"/>
            <a:ext cx="2228364" cy="2694170"/>
            <a:chOff x="8951399" y="2786514"/>
            <a:chExt cx="2228944" cy="2694872"/>
          </a:xfrm>
        </p:grpSpPr>
        <p:pic>
          <p:nvPicPr>
            <p:cNvPr id="9" name="Picture 8"/>
            <p:cNvPicPr>
              <a:picLocks noChangeAspect="1"/>
            </p:cNvPicPr>
            <p:nvPr/>
          </p:nvPicPr>
          <p:blipFill rotWithShape="1">
            <a:blip r:embed="rId6"/>
            <a:srcRect l="3618" t="4098" r="5684" b="6142"/>
            <a:stretch/>
          </p:blipFill>
          <p:spPr>
            <a:xfrm>
              <a:off x="9040513" y="2786514"/>
              <a:ext cx="2050716" cy="2050716"/>
            </a:xfrm>
            <a:prstGeom prst="ellipse">
              <a:avLst/>
            </a:prstGeom>
          </p:spPr>
        </p:pic>
        <p:sp>
          <p:nvSpPr>
            <p:cNvPr id="14" name="TextBox 13"/>
            <p:cNvSpPr txBox="1"/>
            <p:nvPr/>
          </p:nvSpPr>
          <p:spPr>
            <a:xfrm>
              <a:off x="8951399" y="5112054"/>
              <a:ext cx="2228944" cy="369332"/>
            </a:xfrm>
            <a:prstGeom prst="rect">
              <a:avLst/>
            </a:prstGeom>
            <a:noFill/>
          </p:spPr>
          <p:txBody>
            <a:bodyPr wrap="none" rtlCol="0">
              <a:spAutoFit/>
            </a:bodyPr>
            <a:lstStyle/>
            <a:p>
              <a:pPr defTabSz="914126"/>
              <a:r>
                <a:rPr lang="en-US" sz="1799" dirty="0">
                  <a:solidFill>
                    <a:srgbClr val="0078D7"/>
                  </a:solidFill>
                  <a:latin typeface="Segoe UI" panose="020B0502040204020203" pitchFamily="34" charset="0"/>
                  <a:cs typeface="Segoe UI" panose="020B0502040204020203" pitchFamily="34" charset="0"/>
                </a:rPr>
                <a:t>Automate approvals</a:t>
              </a:r>
            </a:p>
          </p:txBody>
        </p:sp>
      </p:grpSp>
    </p:spTree>
    <p:extLst>
      <p:ext uri="{BB962C8B-B14F-4D97-AF65-F5344CB8AC3E}">
        <p14:creationId xmlns:p14="http://schemas.microsoft.com/office/powerpoint/2010/main" val="106310426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632740" y="5009198"/>
            <a:ext cx="10926518" cy="1138476"/>
          </a:xfrm>
          <a:prstGeom prst="rect">
            <a:avLst/>
          </a:prstGeom>
          <a:noFill/>
        </p:spPr>
        <p:txBody>
          <a:bodyPr wrap="square" rtlCol="0">
            <a:spAutoFit/>
          </a:bodyPr>
          <a:lstStyle/>
          <a:p>
            <a:pPr algn="ctr" defTabSz="914126"/>
            <a:r>
              <a:rPr lang="en-US" sz="3399" dirty="0">
                <a:solidFill>
                  <a:prstClr val="black"/>
                </a:solidFill>
                <a:latin typeface="Segoe UI Light" panose="020B0502040204020203" pitchFamily="34" charset="0"/>
                <a:cs typeface="Segoe UI Light" panose="020B0502040204020203" pitchFamily="34" charset="0"/>
              </a:rPr>
              <a:t>Automate advanced scenarios with multiple steps, </a:t>
            </a:r>
            <a:br>
              <a:rPr lang="en-US" sz="3399" dirty="0">
                <a:solidFill>
                  <a:prstClr val="black"/>
                </a:solidFill>
                <a:latin typeface="Segoe UI Light" panose="020B0502040204020203" pitchFamily="34" charset="0"/>
                <a:cs typeface="Segoe UI Light" panose="020B0502040204020203" pitchFamily="34" charset="0"/>
              </a:rPr>
            </a:br>
            <a:r>
              <a:rPr lang="en-US" sz="3399" dirty="0">
                <a:solidFill>
                  <a:prstClr val="black"/>
                </a:solidFill>
                <a:latin typeface="Segoe UI Light" panose="020B0502040204020203" pitchFamily="34" charset="0"/>
                <a:cs typeface="Segoe UI Light" panose="020B0502040204020203" pitchFamily="34" charset="0"/>
              </a:rPr>
              <a:t>branching conditions, and more</a:t>
            </a:r>
          </a:p>
        </p:txBody>
      </p:sp>
      <p:grpSp>
        <p:nvGrpSpPr>
          <p:cNvPr id="11" name="Group 10"/>
          <p:cNvGrpSpPr/>
          <p:nvPr/>
        </p:nvGrpSpPr>
        <p:grpSpPr>
          <a:xfrm>
            <a:off x="2049119" y="872536"/>
            <a:ext cx="8093760" cy="3904481"/>
            <a:chOff x="1233873" y="931136"/>
            <a:chExt cx="8095868" cy="3905498"/>
          </a:xfrm>
        </p:grpSpPr>
        <p:grpSp>
          <p:nvGrpSpPr>
            <p:cNvPr id="10" name="Group 9"/>
            <p:cNvGrpSpPr/>
            <p:nvPr/>
          </p:nvGrpSpPr>
          <p:grpSpPr>
            <a:xfrm>
              <a:off x="1233873" y="931136"/>
              <a:ext cx="8095868" cy="3905498"/>
              <a:chOff x="1233873" y="931136"/>
              <a:chExt cx="8095868" cy="3905498"/>
            </a:xfrm>
          </p:grpSpPr>
          <p:pic>
            <p:nvPicPr>
              <p:cNvPr id="4" name="Picture 3"/>
              <p:cNvPicPr>
                <a:picLocks noChangeAspect="1"/>
              </p:cNvPicPr>
              <p:nvPr/>
            </p:nvPicPr>
            <p:blipFill>
              <a:blip r:embed="rId3">
                <a:clrChange>
                  <a:clrFrom>
                    <a:srgbClr val="F8F8F8"/>
                  </a:clrFrom>
                  <a:clrTo>
                    <a:srgbClr val="F8F8F8">
                      <a:alpha val="0"/>
                    </a:srgbClr>
                  </a:clrTo>
                </a:clrChange>
              </a:blip>
              <a:stretch>
                <a:fillRect/>
              </a:stretch>
            </p:blipFill>
            <p:spPr>
              <a:xfrm>
                <a:off x="1233873" y="931136"/>
                <a:ext cx="8095868" cy="3905498"/>
              </a:xfrm>
              <a:prstGeom prst="rect">
                <a:avLst/>
              </a:prstGeom>
            </p:spPr>
          </p:pic>
          <p:sp>
            <p:nvSpPr>
              <p:cNvPr id="2" name="Rectangle 1"/>
              <p:cNvSpPr/>
              <p:nvPr/>
            </p:nvSpPr>
            <p:spPr>
              <a:xfrm>
                <a:off x="6138333" y="2276477"/>
                <a:ext cx="2853267" cy="12625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prstClr val="white"/>
                  </a:solidFill>
                  <a:latin typeface="Calibri" panose="020F0502020204030204"/>
                </a:endParaRPr>
              </a:p>
            </p:txBody>
          </p:sp>
        </p:grpSp>
        <p:pic>
          <p:nvPicPr>
            <p:cNvPr id="7" name="Picture 26" descr="API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12603" y="2484070"/>
              <a:ext cx="847403" cy="84740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54881" y="2489630"/>
              <a:ext cx="841844" cy="841844"/>
            </a:xfrm>
            <a:prstGeom prst="rect">
              <a:avLst/>
            </a:prstGeom>
          </p:spPr>
        </p:pic>
      </p:grpSp>
    </p:spTree>
    <p:extLst>
      <p:ext uri="{BB962C8B-B14F-4D97-AF65-F5344CB8AC3E}">
        <p14:creationId xmlns:p14="http://schemas.microsoft.com/office/powerpoint/2010/main" val="224418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6858584" y="1876816"/>
            <a:ext cx="5029586" cy="3046195"/>
          </a:xfrm>
          <a:prstGeom prst="rect">
            <a:avLst/>
          </a:prstGeom>
          <a:noFill/>
        </p:spPr>
        <p:txBody>
          <a:bodyPr wrap="square" rtlCol="0">
            <a:spAutoFit/>
          </a:bodyPr>
          <a:lstStyle/>
          <a:p>
            <a:pPr defTabSz="914126"/>
            <a:r>
              <a:rPr lang="en-US" sz="3199" dirty="0">
                <a:solidFill>
                  <a:prstClr val="black"/>
                </a:solidFill>
                <a:latin typeface="Segoe UI Light" panose="020B0502040204020203" pitchFamily="34" charset="0"/>
                <a:cs typeface="Segoe UI Light" panose="020B0502040204020203" pitchFamily="34" charset="0"/>
              </a:rPr>
              <a:t>Click-to-code for integrating the systems you’re already using… even custom APIs.</a:t>
            </a:r>
          </a:p>
          <a:p>
            <a:pPr defTabSz="914126"/>
            <a:endParaRPr lang="en-US" sz="3199" dirty="0">
              <a:solidFill>
                <a:prstClr val="black"/>
              </a:solidFill>
              <a:latin typeface="Segoe UI Light" panose="020B0502040204020203" pitchFamily="34" charset="0"/>
              <a:cs typeface="Segoe UI Light" panose="020B0502040204020203" pitchFamily="34" charset="0"/>
            </a:endParaRPr>
          </a:p>
          <a:p>
            <a:pPr defTabSz="914126"/>
            <a:r>
              <a:rPr lang="en-US" sz="3199" dirty="0">
                <a:solidFill>
                  <a:prstClr val="black"/>
                </a:solidFill>
                <a:latin typeface="Segoe UI Light" panose="020B0502040204020203" pitchFamily="34" charset="0"/>
                <a:cs typeface="Segoe UI Light" panose="020B0502040204020203" pitchFamily="34" charset="0"/>
              </a:rPr>
              <a:t>New services being added every week!</a:t>
            </a:r>
          </a:p>
        </p:txBody>
      </p:sp>
      <p:grpSp>
        <p:nvGrpSpPr>
          <p:cNvPr id="3" name="Group 2"/>
          <p:cNvGrpSpPr/>
          <p:nvPr/>
        </p:nvGrpSpPr>
        <p:grpSpPr>
          <a:xfrm>
            <a:off x="671572" y="979584"/>
            <a:ext cx="6003714" cy="4879015"/>
            <a:chOff x="670159" y="978945"/>
            <a:chExt cx="6005278" cy="4880286"/>
          </a:xfrm>
        </p:grpSpPr>
        <p:grpSp>
          <p:nvGrpSpPr>
            <p:cNvPr id="2" name="Group 1"/>
            <p:cNvGrpSpPr/>
            <p:nvPr/>
          </p:nvGrpSpPr>
          <p:grpSpPr>
            <a:xfrm>
              <a:off x="670159" y="978945"/>
              <a:ext cx="6005278" cy="4880286"/>
              <a:chOff x="670159" y="1592262"/>
              <a:chExt cx="6005278" cy="4880286"/>
            </a:xfrm>
          </p:grpSpPr>
          <p:grpSp>
            <p:nvGrpSpPr>
              <p:cNvPr id="6" name="Group 5"/>
              <p:cNvGrpSpPr/>
              <p:nvPr/>
            </p:nvGrpSpPr>
            <p:grpSpPr>
              <a:xfrm>
                <a:off x="674293" y="1592262"/>
                <a:ext cx="6001144" cy="3873253"/>
                <a:chOff x="379241" y="1263798"/>
                <a:chExt cx="6847644" cy="4419600"/>
              </a:xfrm>
            </p:grpSpPr>
            <p:grpSp>
              <p:nvGrpSpPr>
                <p:cNvPr id="7" name="Group 6"/>
                <p:cNvGrpSpPr/>
                <p:nvPr/>
              </p:nvGrpSpPr>
              <p:grpSpPr>
                <a:xfrm>
                  <a:off x="379241" y="1263798"/>
                  <a:ext cx="6847644" cy="4419600"/>
                  <a:chOff x="2194749" y="2049462"/>
                  <a:chExt cx="6070876" cy="3918259"/>
                </a:xfrm>
              </p:grpSpPr>
              <p:pic>
                <p:nvPicPr>
                  <p:cNvPr id="9" name="Picture 2" descr="Azure Blo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4749" y="2049462"/>
                    <a:ext cx="857249" cy="85725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API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65651" y="2049462"/>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8" descr="API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94749" y="3069798"/>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0" descr="API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37474" y="2049462"/>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2" descr="API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22925" y="2049462"/>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API Icon"/>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08375" y="2049462"/>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6" descr="API Icon"/>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37474" y="3069798"/>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8" descr="API Icon"/>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322923" y="3069798"/>
                    <a:ext cx="857250" cy="857251"/>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p:cNvGrpSpPr/>
                  <p:nvPr/>
                </p:nvGrpSpPr>
                <p:grpSpPr>
                  <a:xfrm>
                    <a:off x="4280199" y="3069800"/>
                    <a:ext cx="857249" cy="857249"/>
                    <a:chOff x="2211902" y="3040062"/>
                    <a:chExt cx="857249" cy="857249"/>
                  </a:xfrm>
                </p:grpSpPr>
                <p:sp>
                  <p:nvSpPr>
                    <p:cNvPr id="33" name="Rectangle 32"/>
                    <p:cNvSpPr/>
                    <p:nvPr/>
                  </p:nvSpPr>
                  <p:spPr>
                    <a:xfrm>
                      <a:off x="2211902" y="3040062"/>
                      <a:ext cx="857249" cy="857249"/>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prstClr val="white"/>
                        </a:solidFill>
                        <a:latin typeface="Calibri" panose="020F0502020204030204"/>
                      </a:endParaRPr>
                    </a:p>
                  </p:txBody>
                </p:sp>
                <p:pic>
                  <p:nvPicPr>
                    <p:cNvPr id="34" name="Picture 20" descr="https://static.mailchimp.com/web/brand-assets/mc_script_white_web.png?_ga=1.172217059.1751024918.1461639528"/>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296683" y="3377481"/>
                      <a:ext cx="687685" cy="182410"/>
                    </a:xfrm>
                    <a:prstGeom prst="rect">
                      <a:avLst/>
                    </a:prstGeom>
                    <a:noFill/>
                    <a:extLst>
                      <a:ext uri="{909E8E84-426E-40DD-AFC4-6F175D3DCCD1}">
                        <a14:hiddenFill xmlns:a14="http://schemas.microsoft.com/office/drawing/2010/main">
                          <a:solidFill>
                            <a:srgbClr val="FFFFFF"/>
                          </a:solidFill>
                        </a14:hiddenFill>
                      </a:ext>
                    </a:extLst>
                  </p:spPr>
                </p:pic>
              </p:grpSp>
              <p:pic>
                <p:nvPicPr>
                  <p:cNvPr id="19" name="Picture 22" descr="API Icon"/>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365648" y="3069798"/>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4" descr="API Icon"/>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408375" y="3069798"/>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6" descr="API Icon"/>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94749"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8" descr="API Icon"/>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237474"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30" descr="API Icon"/>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322925"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32" descr="API Icon"/>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365650"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34" descr="API Icon"/>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408375"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36" descr="API Icon"/>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94749"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38" descr="API Icon"/>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237474"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0" descr="API Icon"/>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280199"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2" descr="API Icon"/>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322924"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4" descr="API Icon"/>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6365649"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6" descr="https://pagely.c.presscdn.com/wp-content/uploads/2014/10/CEQmLcHc.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4280199" y="4090134"/>
                    <a:ext cx="857251" cy="857251"/>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p:cNvSpPr/>
                  <p:nvPr/>
                </p:nvSpPr>
                <p:spPr>
                  <a:xfrm>
                    <a:off x="7408376" y="5110471"/>
                    <a:ext cx="857249" cy="857249"/>
                  </a:xfrm>
                  <a:prstGeom prst="rect">
                    <a:avLst/>
                  </a:prstGeom>
                  <a:solidFill>
                    <a:schemeClr val="bg1"/>
                  </a:solidFill>
                  <a:ln w="28575">
                    <a:solidFill>
                      <a:srgbClr val="D5B3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prstClr val="white"/>
                      </a:solidFill>
                      <a:latin typeface="Calibri" panose="020F0502020204030204"/>
                    </a:endParaRPr>
                  </a:p>
                </p:txBody>
              </p:sp>
            </p:grpSp>
            <p:pic>
              <p:nvPicPr>
                <p:cNvPr id="8" name="Picture 7"/>
                <p:cNvPicPr>
                  <a:picLocks noChangeAspect="1"/>
                </p:cNvPicPr>
                <p:nvPr/>
              </p:nvPicPr>
              <p:blipFill rotWithShape="1">
                <a:blip r:embed="rId25"/>
                <a:srcRect l="87571" t="55834" r="2772" b="15555"/>
                <a:stretch/>
              </p:blipFill>
              <p:spPr>
                <a:xfrm>
                  <a:off x="6363089" y="4868862"/>
                  <a:ext cx="769548" cy="712057"/>
                </a:xfrm>
                <a:prstGeom prst="rect">
                  <a:avLst/>
                </a:prstGeom>
              </p:spPr>
            </p:pic>
          </p:grpSp>
          <p:pic>
            <p:nvPicPr>
              <p:cNvPr id="35" name="Picture 34"/>
              <p:cNvPicPr>
                <a:picLocks noChangeAspect="1"/>
              </p:cNvPicPr>
              <p:nvPr/>
            </p:nvPicPr>
            <p:blipFill rotWithShape="1">
              <a:blip r:embed="rId26"/>
              <a:srcRect l="2930" t="2112" r="3016" b="2882"/>
              <a:stretch/>
            </p:blipFill>
            <p:spPr>
              <a:xfrm>
                <a:off x="2731816" y="5609583"/>
                <a:ext cx="855345" cy="857250"/>
              </a:xfrm>
              <a:prstGeom prst="rect">
                <a:avLst/>
              </a:prstGeom>
            </p:spPr>
          </p:pic>
          <p:pic>
            <p:nvPicPr>
              <p:cNvPr id="36" name="Picture 35"/>
              <p:cNvPicPr>
                <a:picLocks noChangeAspect="1"/>
              </p:cNvPicPr>
              <p:nvPr/>
            </p:nvPicPr>
            <p:blipFill rotWithShape="1">
              <a:blip r:embed="rId27"/>
              <a:srcRect l="3328" t="1447" r="2301" b="2456"/>
              <a:stretch/>
            </p:blipFill>
            <p:spPr>
              <a:xfrm>
                <a:off x="3771928" y="5609583"/>
                <a:ext cx="842011" cy="843916"/>
              </a:xfrm>
              <a:prstGeom prst="rect">
                <a:avLst/>
              </a:prstGeom>
            </p:spPr>
          </p:pic>
          <p:pic>
            <p:nvPicPr>
              <p:cNvPr id="37" name="Picture 36"/>
              <p:cNvPicPr>
                <a:picLocks noChangeAspect="1"/>
              </p:cNvPicPr>
              <p:nvPr/>
            </p:nvPicPr>
            <p:blipFill rotWithShape="1">
              <a:blip r:embed="rId28"/>
              <a:srcRect l="939" t="2591" r="3059" b="1952"/>
              <a:stretch/>
            </p:blipFill>
            <p:spPr>
              <a:xfrm>
                <a:off x="1700909" y="5613393"/>
                <a:ext cx="851535" cy="853440"/>
              </a:xfrm>
              <a:prstGeom prst="rect">
                <a:avLst/>
              </a:prstGeom>
            </p:spPr>
          </p:pic>
          <p:pic>
            <p:nvPicPr>
              <p:cNvPr id="38" name="Picture 37"/>
              <p:cNvPicPr>
                <a:picLocks noChangeAspect="1"/>
              </p:cNvPicPr>
              <p:nvPr/>
            </p:nvPicPr>
            <p:blipFill rotWithShape="1">
              <a:blip r:embed="rId29"/>
              <a:srcRect l="2144" t="1775" r="3359" b="2125"/>
              <a:stretch/>
            </p:blipFill>
            <p:spPr>
              <a:xfrm>
                <a:off x="670159" y="5613393"/>
                <a:ext cx="851536" cy="859155"/>
              </a:xfrm>
              <a:prstGeom prst="rect">
                <a:avLst/>
              </a:prstGeom>
            </p:spPr>
          </p:pic>
        </p:grpSp>
        <p:pic>
          <p:nvPicPr>
            <p:cNvPr id="39" name="Picture 38"/>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2731816" y="978945"/>
              <a:ext cx="841844" cy="841844"/>
            </a:xfrm>
            <a:prstGeom prst="rect">
              <a:avLst/>
            </a:prstGeom>
          </p:spPr>
        </p:pic>
      </p:grpSp>
      <p:sp>
        <p:nvSpPr>
          <p:cNvPr id="4" name="TextBox 3"/>
          <p:cNvSpPr txBox="1"/>
          <p:nvPr/>
        </p:nvSpPr>
        <p:spPr>
          <a:xfrm>
            <a:off x="6083156" y="5483649"/>
            <a:ext cx="5805014" cy="369236"/>
          </a:xfrm>
          <a:prstGeom prst="rect">
            <a:avLst/>
          </a:prstGeom>
          <a:noFill/>
        </p:spPr>
        <p:txBody>
          <a:bodyPr wrap="none" rtlCol="0">
            <a:spAutoFit/>
          </a:bodyPr>
          <a:lstStyle/>
          <a:p>
            <a:pPr defTabSz="914126"/>
            <a:r>
              <a:rPr lang="en-US" sz="1799" dirty="0">
                <a:solidFill>
                  <a:srgbClr val="5B9BD5"/>
                </a:solidFill>
                <a:latin typeface="Segoe UI Light" panose="020B0502040204020203" pitchFamily="34" charset="0"/>
                <a:cs typeface="Segoe UI Light" panose="020B0502040204020203" pitchFamily="34" charset="0"/>
              </a:rPr>
              <a:t>https://flow.microsoft.com/manage/connections/available </a:t>
            </a:r>
          </a:p>
        </p:txBody>
      </p:sp>
    </p:spTree>
    <p:extLst>
      <p:ext uri="{BB962C8B-B14F-4D97-AF65-F5344CB8AC3E}">
        <p14:creationId xmlns:p14="http://schemas.microsoft.com/office/powerpoint/2010/main" val="26719550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4"/>
          <p:cNvSpPr txBox="1">
            <a:spLocks/>
          </p:cNvSpPr>
          <p:nvPr/>
        </p:nvSpPr>
        <p:spPr>
          <a:xfrm>
            <a:off x="520701" y="228601"/>
            <a:ext cx="11149013" cy="747897"/>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gradFill>
                  <a:gsLst>
                    <a:gs pos="1250">
                      <a:srgbClr val="1F497D"/>
                    </a:gs>
                    <a:gs pos="100000">
                      <a:srgbClr val="1F497D"/>
                    </a:gs>
                  </a:gsLst>
                  <a:lin ang="5400000" scaled="0"/>
                </a:gradFill>
                <a:latin typeface="Segoe UI Light"/>
              </a:rPr>
              <a:t>Where you manage Flow and how can we get start</a:t>
            </a:r>
          </a:p>
        </p:txBody>
      </p:sp>
      <p:sp>
        <p:nvSpPr>
          <p:cNvPr id="11" name="Text Placeholder 2"/>
          <p:cNvSpPr txBox="1">
            <a:spLocks/>
          </p:cNvSpPr>
          <p:nvPr/>
        </p:nvSpPr>
        <p:spPr>
          <a:xfrm>
            <a:off x="535216" y="2029141"/>
            <a:ext cx="10047287" cy="516888"/>
          </a:xfrm>
          <a:prstGeom prst="rect">
            <a:avLst/>
          </a:prstGeom>
        </p:spPr>
        <p:txBody>
          <a:bodyPr vert="horz" wrap="square" lIns="146266" tIns="91416" rIns="146266" bIns="91416"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48059" indent="-448059" defTabSz="914126">
              <a:spcAft>
                <a:spcPts val="1764"/>
              </a:spcAft>
              <a:buFont typeface="Wingdings" panose="05000000000000000000" pitchFamily="2" charset="2"/>
              <a:buChar char="à"/>
            </a:pPr>
            <a:r>
              <a:rPr lang="en-US" sz="2399" dirty="0">
                <a:solidFill>
                  <a:prstClr val="black"/>
                </a:solidFill>
                <a:latin typeface="Segoe UI Light"/>
                <a:ea typeface="Calibri" panose="020F0502020204030204" pitchFamily="34" charset="0"/>
                <a:cs typeface="Times New Roman" panose="02020603050405020304" pitchFamily="18" charset="0"/>
              </a:rPr>
              <a:t>Flow web portal at </a:t>
            </a:r>
            <a:r>
              <a:rPr lang="en-US" sz="2399" b="1" dirty="0">
                <a:solidFill>
                  <a:prstClr val="black"/>
                </a:solidFill>
                <a:latin typeface="Calibri Light" panose="020F0302020204030204"/>
                <a:ea typeface="Calibri" panose="020F0502020204030204" pitchFamily="34" charset="0"/>
                <a:cs typeface="Times New Roman" panose="02020603050405020304" pitchFamily="18" charset="0"/>
              </a:rPr>
              <a:t>https://flow.microsoft.com/en-us/</a:t>
            </a:r>
            <a:endParaRPr lang="en-US" sz="2399" b="1" dirty="0">
              <a:solidFill>
                <a:prstClr val="black"/>
              </a:solidFill>
              <a:latin typeface="Segoe UI Light"/>
              <a:ea typeface="Calibri" panose="020F0502020204030204" pitchFamily="34" charset="0"/>
              <a:cs typeface="Times New Roman" panose="02020603050405020304" pitchFamily="18" charset="0"/>
            </a:endParaRPr>
          </a:p>
        </p:txBody>
      </p:sp>
      <p:sp>
        <p:nvSpPr>
          <p:cNvPr id="12" name="Text Placeholder 2"/>
          <p:cNvSpPr txBox="1">
            <a:spLocks/>
          </p:cNvSpPr>
          <p:nvPr/>
        </p:nvSpPr>
        <p:spPr>
          <a:xfrm>
            <a:off x="520701" y="2708426"/>
            <a:ext cx="4822144" cy="2150669"/>
          </a:xfrm>
          <a:prstGeom prst="rect">
            <a:avLst/>
          </a:prstGeom>
        </p:spPr>
        <p:txBody>
          <a:bodyPr vert="horz" wrap="square" lIns="146266" tIns="91416" rIns="146266" bIns="91416"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48059" indent="-448059" defTabSz="914126">
              <a:spcAft>
                <a:spcPts val="1764"/>
              </a:spcAft>
              <a:buFont typeface="Wingdings" panose="05000000000000000000" pitchFamily="2" charset="2"/>
              <a:buChar char="à"/>
            </a:pPr>
            <a:r>
              <a:rPr lang="en-US" sz="2399" dirty="0">
                <a:solidFill>
                  <a:prstClr val="black"/>
                </a:solidFill>
                <a:latin typeface="Calibri Light" panose="020F0302020204030204"/>
                <a:ea typeface="Calibri" panose="020F0502020204030204" pitchFamily="34" charset="0"/>
                <a:cs typeface="Times New Roman" panose="02020603050405020304" pitchFamily="18" charset="0"/>
              </a:rPr>
              <a:t>Learn how to use Flow (tutorials and videos) at </a:t>
            </a:r>
            <a:r>
              <a:rPr lang="en-US" sz="2399" b="1" dirty="0">
                <a:solidFill>
                  <a:prstClr val="black"/>
                </a:solidFill>
                <a:latin typeface="Calibri Light" panose="020F0302020204030204"/>
                <a:ea typeface="Calibri" panose="020F0502020204030204" pitchFamily="34" charset="0"/>
                <a:cs typeface="Times New Roman" panose="02020603050405020304" pitchFamily="18" charset="0"/>
              </a:rPr>
              <a:t>https://flow.microsoft.com/en-us/guided-learning/</a:t>
            </a:r>
          </a:p>
          <a:p>
            <a:pPr marL="448059" indent="-448059" defTabSz="914126">
              <a:spcAft>
                <a:spcPts val="1764"/>
              </a:spcAft>
              <a:buFont typeface="Wingdings" panose="05000000000000000000" pitchFamily="2" charset="2"/>
              <a:buChar char="à"/>
            </a:pPr>
            <a:r>
              <a:rPr lang="en-US" sz="2399" dirty="0">
                <a:solidFill>
                  <a:prstClr val="black"/>
                </a:solidFill>
                <a:latin typeface="Calibri Light" panose="020F0302020204030204"/>
                <a:ea typeface="Calibri" panose="020F0502020204030204" pitchFamily="34" charset="0"/>
                <a:cs typeface="Times New Roman" panose="02020603050405020304" pitchFamily="18" charset="0"/>
              </a:rPr>
              <a:t>Now is integrated with Office365</a:t>
            </a:r>
          </a:p>
        </p:txBody>
      </p:sp>
      <p:pic>
        <p:nvPicPr>
          <p:cNvPr id="2" name="Picture 1"/>
          <p:cNvPicPr>
            <a:picLocks noChangeAspect="1"/>
          </p:cNvPicPr>
          <p:nvPr/>
        </p:nvPicPr>
        <p:blipFill>
          <a:blip r:embed="rId3"/>
          <a:stretch>
            <a:fillRect/>
          </a:stretch>
        </p:blipFill>
        <p:spPr>
          <a:xfrm>
            <a:off x="5292045" y="3835401"/>
            <a:ext cx="6928820" cy="3018138"/>
          </a:xfrm>
          <a:prstGeom prst="rect">
            <a:avLst/>
          </a:prstGeom>
        </p:spPr>
      </p:pic>
    </p:spTree>
    <p:extLst>
      <p:ext uri="{BB962C8B-B14F-4D97-AF65-F5344CB8AC3E}">
        <p14:creationId xmlns:p14="http://schemas.microsoft.com/office/powerpoint/2010/main" val="4065879795"/>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95780" y="529193"/>
            <a:ext cx="5291506" cy="5291506"/>
          </a:xfrm>
          <a:prstGeom prst="rect">
            <a:avLst/>
          </a:prstGeom>
        </p:spPr>
      </p:pic>
      <p:sp>
        <p:nvSpPr>
          <p:cNvPr id="9" name="Rectangle 8"/>
          <p:cNvSpPr/>
          <p:nvPr/>
        </p:nvSpPr>
        <p:spPr>
          <a:xfrm>
            <a:off x="2456" y="6010322"/>
            <a:ext cx="12187093" cy="846299"/>
          </a:xfrm>
          <a:prstGeom prst="rect">
            <a:avLst/>
          </a:prstGeom>
          <a:solidFill>
            <a:srgbClr val="01A1DD">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88"/>
            <a:endParaRPr lang="en-AU" sz="2399">
              <a:solidFill>
                <a:srgbClr val="01A1DD"/>
              </a:solidFill>
              <a:latin typeface="Segoe UI"/>
            </a:endParaRPr>
          </a:p>
        </p:txBody>
      </p:sp>
      <p:sp>
        <p:nvSpPr>
          <p:cNvPr id="4" name="Rectangle 3"/>
          <p:cNvSpPr/>
          <p:nvPr/>
        </p:nvSpPr>
        <p:spPr>
          <a:xfrm>
            <a:off x="2453" y="5807202"/>
            <a:ext cx="12187096" cy="863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88"/>
            <a:endParaRPr lang="en-AU" sz="2399">
              <a:solidFill>
                <a:prstClr val="white"/>
              </a:solidFill>
              <a:latin typeface="Segoe UI"/>
            </a:endParaRPr>
          </a:p>
        </p:txBody>
      </p:sp>
      <p:sp>
        <p:nvSpPr>
          <p:cNvPr id="12" name="Title 1"/>
          <p:cNvSpPr txBox="1">
            <a:spLocks/>
          </p:cNvSpPr>
          <p:nvPr/>
        </p:nvSpPr>
        <p:spPr>
          <a:xfrm>
            <a:off x="1393369" y="5636359"/>
            <a:ext cx="10359032" cy="1214409"/>
          </a:xfrm>
          <a:prstGeom prst="rect">
            <a:avLst/>
          </a:prstGeom>
        </p:spPr>
        <p:txBody>
          <a:bodyPr vert="horz" lIns="121870" tIns="60935" rIns="121870" bIns="60935"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defTabSz="914225"/>
            <a:r>
              <a:rPr lang="en-AU" sz="2131" spc="-40" dirty="0">
                <a:solidFill>
                  <a:srgbClr val="01A1DD"/>
                </a:solidFill>
                <a:latin typeface="Questrial" panose="02000000000000000000" pitchFamily="2" charset="0"/>
                <a:ea typeface="Open Sans Light" panose="020B0306030504020204" pitchFamily="34" charset="0"/>
                <a:cs typeface="Open Sans Light" panose="020B0306030504020204" pitchFamily="34" charset="0"/>
              </a:rPr>
              <a:t>Sandro Pereira</a:t>
            </a:r>
            <a:endParaRPr lang="en-AU" sz="2131" spc="-40" dirty="0">
              <a:solidFill>
                <a:srgbClr val="01A1DD"/>
              </a:solidFill>
              <a:latin typeface="Questrial" panose="02000000000000000000" pitchFamily="2" charset="0"/>
            </a:endParaRPr>
          </a:p>
        </p:txBody>
      </p:sp>
      <p:sp>
        <p:nvSpPr>
          <p:cNvPr id="8" name="Title 1"/>
          <p:cNvSpPr txBox="1">
            <a:spLocks/>
          </p:cNvSpPr>
          <p:nvPr/>
        </p:nvSpPr>
        <p:spPr>
          <a:xfrm>
            <a:off x="595740" y="44822"/>
            <a:ext cx="10359032" cy="1616377"/>
          </a:xfrm>
          <a:prstGeom prst="rect">
            <a:avLst/>
          </a:prstGeom>
        </p:spPr>
        <p:txBody>
          <a:bodyPr vert="horz" lIns="121870" tIns="60935" rIns="121870" bIns="60935"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defTabSz="914225"/>
            <a:r>
              <a:rPr lang="en-AU" sz="4799" spc="-40" dirty="0">
                <a:solidFill>
                  <a:srgbClr val="01A1DD"/>
                </a:solidFill>
                <a:latin typeface="Segoe UI Light" panose="020B0502040204020203" pitchFamily="34" charset="0"/>
                <a:ea typeface="Open Sans Light" panose="020B0306030504020204" pitchFamily="34" charset="0"/>
                <a:cs typeface="Segoe UI Light" panose="020B0502040204020203" pitchFamily="34" charset="0"/>
              </a:rPr>
              <a:t>Who am I?</a:t>
            </a:r>
          </a:p>
        </p:txBody>
      </p:sp>
      <p:sp>
        <p:nvSpPr>
          <p:cNvPr id="14" name="Subtitle 2"/>
          <p:cNvSpPr txBox="1">
            <a:spLocks/>
          </p:cNvSpPr>
          <p:nvPr/>
        </p:nvSpPr>
        <p:spPr>
          <a:xfrm>
            <a:off x="595740" y="1319271"/>
            <a:ext cx="6354170" cy="1973453"/>
          </a:xfrm>
          <a:prstGeom prst="rect">
            <a:avLst/>
          </a:prstGeom>
        </p:spPr>
        <p:txBody>
          <a:bodyPr vert="horz" lIns="121870" tIns="60935" rIns="121870" bIns="60935" rtlCol="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834" indent="-342834" defTabSz="914225"/>
            <a:r>
              <a:rPr lang="en-AU" sz="2399" b="1" dirty="0">
                <a:solidFill>
                  <a:prstClr val="black"/>
                </a:solidFill>
                <a:latin typeface="Segoe UI"/>
              </a:rPr>
              <a:t>Codeless Wizard</a:t>
            </a:r>
          </a:p>
          <a:p>
            <a:pPr marL="342834" indent="-342834" defTabSz="914225"/>
            <a:r>
              <a:rPr lang="en-AU" sz="2399" dirty="0">
                <a:solidFill>
                  <a:prstClr val="black"/>
                </a:solidFill>
                <a:latin typeface="Segoe UI"/>
              </a:rPr>
              <a:t>Microsoft Azure &amp; Visio MVP</a:t>
            </a:r>
          </a:p>
          <a:p>
            <a:pPr marL="342834" indent="-342834" defTabSz="914225"/>
            <a:r>
              <a:rPr lang="en-US" sz="2399" dirty="0">
                <a:solidFill>
                  <a:prstClr val="black"/>
                </a:solidFill>
                <a:latin typeface="Segoe UI"/>
                <a:hlinkClick r:id="rId4"/>
              </a:rPr>
              <a:t>sandro.pereira@devscope.net</a:t>
            </a:r>
            <a:r>
              <a:rPr lang="en-US" sz="2399" dirty="0">
                <a:solidFill>
                  <a:prstClr val="black"/>
                </a:solidFill>
                <a:latin typeface="Segoe UI"/>
              </a:rPr>
              <a:t> </a:t>
            </a:r>
          </a:p>
          <a:p>
            <a:pPr marL="342834" indent="-342834" defTabSz="914225"/>
            <a:r>
              <a:rPr lang="en-US" sz="2399" dirty="0">
                <a:solidFill>
                  <a:prstClr val="black"/>
                </a:solidFill>
                <a:latin typeface="Segoe UI"/>
              </a:rPr>
              <a:t>linkedin.com/in/</a:t>
            </a:r>
            <a:r>
              <a:rPr lang="en-US" sz="2399" dirty="0" err="1">
                <a:solidFill>
                  <a:prstClr val="black"/>
                </a:solidFill>
                <a:latin typeface="Segoe UI"/>
              </a:rPr>
              <a:t>sandropereira</a:t>
            </a:r>
            <a:endParaRPr lang="en-US" sz="2399" dirty="0">
              <a:solidFill>
                <a:prstClr val="black"/>
              </a:solidFill>
              <a:latin typeface="Segoe UI"/>
            </a:endParaRPr>
          </a:p>
          <a:p>
            <a:pPr marL="342834" indent="-342834" defTabSz="914225"/>
            <a:r>
              <a:rPr lang="en-US" sz="2399" dirty="0">
                <a:solidFill>
                  <a:prstClr val="black"/>
                </a:solidFill>
                <a:latin typeface="Segoe UI"/>
              </a:rPr>
              <a:t>@</a:t>
            </a:r>
            <a:r>
              <a:rPr lang="en-US" sz="2399" dirty="0" err="1">
                <a:solidFill>
                  <a:prstClr val="black"/>
                </a:solidFill>
                <a:latin typeface="Segoe UI"/>
              </a:rPr>
              <a:t>sandro_asp</a:t>
            </a:r>
            <a:r>
              <a:rPr lang="en-US" sz="2399" dirty="0">
                <a:solidFill>
                  <a:prstClr val="black"/>
                </a:solidFill>
                <a:latin typeface="Segoe UI"/>
              </a:rPr>
              <a:t> </a:t>
            </a:r>
          </a:p>
          <a:p>
            <a:pPr marL="342834" indent="-342834" defTabSz="914225"/>
            <a:r>
              <a:rPr lang="en-US" sz="2399" dirty="0">
                <a:solidFill>
                  <a:prstClr val="black"/>
                </a:solidFill>
                <a:latin typeface="Segoe UI"/>
                <a:hlinkClick r:id="rId5"/>
              </a:rPr>
              <a:t>https://blog.sandro-pereira.com/</a:t>
            </a:r>
            <a:endParaRPr lang="en-US" sz="2399" dirty="0">
              <a:solidFill>
                <a:prstClr val="black"/>
              </a:solidFill>
              <a:latin typeface="Segoe UI"/>
            </a:endParaRPr>
          </a:p>
          <a:p>
            <a:pPr marL="342834" indent="-342834" defTabSz="914225"/>
            <a:r>
              <a:rPr lang="en-US" sz="2399" dirty="0">
                <a:solidFill>
                  <a:prstClr val="black"/>
                </a:solidFill>
                <a:latin typeface="Segoe UI"/>
              </a:rPr>
              <a:t>Public speaker </a:t>
            </a:r>
          </a:p>
          <a:p>
            <a:pPr marL="342834" indent="-342834" defTabSz="914225"/>
            <a:r>
              <a:rPr lang="en-US" sz="2399" dirty="0">
                <a:solidFill>
                  <a:prstClr val="black"/>
                </a:solidFill>
                <a:latin typeface="Segoe UI"/>
              </a:rPr>
              <a:t>Book author: “</a:t>
            </a:r>
            <a:r>
              <a:rPr lang="en-US" sz="2399" dirty="0">
                <a:solidFill>
                  <a:prstClr val="black"/>
                </a:solidFill>
                <a:latin typeface="Segoe UI"/>
                <a:hlinkClick r:id="rId6"/>
              </a:rPr>
              <a:t>BizTalk Mapping Patterns and Best Practices</a:t>
            </a:r>
            <a:r>
              <a:rPr lang="en-US" sz="2399" dirty="0">
                <a:solidFill>
                  <a:prstClr val="black"/>
                </a:solidFill>
                <a:latin typeface="Segoe UI"/>
              </a:rPr>
              <a:t>”</a:t>
            </a:r>
          </a:p>
          <a:p>
            <a:pPr marL="342834" indent="-342834" defTabSz="914225"/>
            <a:endParaRPr lang="en-US" sz="2399" dirty="0">
              <a:solidFill>
                <a:prstClr val="black"/>
              </a:solidFill>
              <a:latin typeface="Segoe UI"/>
            </a:endParaRPr>
          </a:p>
        </p:txBody>
      </p:sp>
      <p:pic>
        <p:nvPicPr>
          <p:cNvPr id="10" name="Picture 2" descr="http://4.bp.blogspot.com/-OUfCsUCY3B4/VGgJCYMcsGI/AAAAAAAAIuQ/dyBpOE8ZilM/s230/mvp_logo.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51664" y="5319005"/>
            <a:ext cx="2189869" cy="100924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05522" y="5820700"/>
            <a:ext cx="2511330" cy="641566"/>
          </a:xfrm>
          <a:prstGeom prst="rect">
            <a:avLst/>
          </a:prstGeom>
        </p:spPr>
      </p:pic>
      <p:pic>
        <p:nvPicPr>
          <p:cNvPr id="10244" name="Picture 4" descr="https://forums.terraria.org/data/attachments/90/90060-628326db7a9dd739beab0a613d614d4f.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671260" y="563015"/>
            <a:ext cx="633248" cy="7010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1391226"/>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790654" y="2420158"/>
            <a:ext cx="3714384" cy="1661560"/>
          </a:xfrm>
          <a:prstGeom prst="rect">
            <a:avLst/>
          </a:prstGeom>
          <a:noFill/>
        </p:spPr>
        <p:txBody>
          <a:bodyPr wrap="square" rtlCol="0">
            <a:spAutoFit/>
          </a:bodyPr>
          <a:lstStyle/>
          <a:p>
            <a:pPr defTabSz="914126"/>
            <a:r>
              <a:rPr lang="en-US" sz="3399" dirty="0">
                <a:solidFill>
                  <a:prstClr val="black"/>
                </a:solidFill>
                <a:latin typeface="Segoe UI Light" panose="020B0502040204020203" pitchFamily="34" charset="0"/>
                <a:cs typeface="Segoe UI Light" panose="020B0502040204020203" pitchFamily="34" charset="0"/>
              </a:rPr>
              <a:t>Get started quickly with hundreds useful templates</a:t>
            </a:r>
          </a:p>
        </p:txBody>
      </p:sp>
      <p:grpSp>
        <p:nvGrpSpPr>
          <p:cNvPr id="17" name="Group 16"/>
          <p:cNvGrpSpPr/>
          <p:nvPr/>
        </p:nvGrpSpPr>
        <p:grpSpPr>
          <a:xfrm>
            <a:off x="5224725" y="895"/>
            <a:ext cx="6965689" cy="21435713"/>
            <a:chOff x="5224497" y="0"/>
            <a:chExt cx="6967503" cy="21441297"/>
          </a:xfrm>
        </p:grpSpPr>
        <p:pic>
          <p:nvPicPr>
            <p:cNvPr id="3" name="Picture 2"/>
            <p:cNvPicPr>
              <a:picLocks noChangeAspect="1"/>
            </p:cNvPicPr>
            <p:nvPr/>
          </p:nvPicPr>
          <p:blipFill>
            <a:blip r:embed="rId3"/>
            <a:stretch>
              <a:fillRect/>
            </a:stretch>
          </p:blipFill>
          <p:spPr>
            <a:xfrm>
              <a:off x="5224497" y="0"/>
              <a:ext cx="6967503" cy="7840980"/>
            </a:xfrm>
            <a:prstGeom prst="rect">
              <a:avLst/>
            </a:prstGeom>
          </p:spPr>
        </p:pic>
        <p:pic>
          <p:nvPicPr>
            <p:cNvPr id="15" name="Picture 14"/>
            <p:cNvPicPr>
              <a:picLocks noChangeAspect="1"/>
            </p:cNvPicPr>
            <p:nvPr/>
          </p:nvPicPr>
          <p:blipFill rotWithShape="1">
            <a:blip r:embed="rId4"/>
            <a:srcRect t="5154" b="8417"/>
            <a:stretch/>
          </p:blipFill>
          <p:spPr>
            <a:xfrm>
              <a:off x="5224497" y="7840980"/>
              <a:ext cx="6967503" cy="6776902"/>
            </a:xfrm>
            <a:prstGeom prst="rect">
              <a:avLst/>
            </a:prstGeom>
          </p:spPr>
        </p:pic>
        <p:pic>
          <p:nvPicPr>
            <p:cNvPr id="16" name="Picture 15"/>
            <p:cNvPicPr>
              <a:picLocks noChangeAspect="1"/>
            </p:cNvPicPr>
            <p:nvPr/>
          </p:nvPicPr>
          <p:blipFill rotWithShape="1">
            <a:blip r:embed="rId5"/>
            <a:srcRect t="4012" b="8853"/>
            <a:stretch/>
          </p:blipFill>
          <p:spPr>
            <a:xfrm>
              <a:off x="5224497" y="14617882"/>
              <a:ext cx="6958519" cy="6823415"/>
            </a:xfrm>
            <a:prstGeom prst="rect">
              <a:avLst/>
            </a:prstGeom>
          </p:spPr>
        </p:pic>
      </p:grpSp>
    </p:spTree>
    <p:extLst>
      <p:ext uri="{BB962C8B-B14F-4D97-AF65-F5344CB8AC3E}">
        <p14:creationId xmlns:p14="http://schemas.microsoft.com/office/powerpoint/2010/main" val="81713895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0"/>
                                  </p:stCondLst>
                                  <p:childTnLst>
                                    <p:animMotion origin="layout" path="M -2.70833E-6 -4.44444E-6 L -2.70833E-6 -2.12777 " pathEditMode="relative" rAng="0" ptsTypes="AA">
                                      <p:cBhvr>
                                        <p:cTn id="6" dur="5000" fill="hold"/>
                                        <p:tgtEl>
                                          <p:spTgt spid="17"/>
                                        </p:tgtEl>
                                        <p:attrNameLst>
                                          <p:attrName>ppt_x</p:attrName>
                                          <p:attrName>ppt_y</p:attrName>
                                        </p:attrNameLst>
                                      </p:cBhvr>
                                      <p:rCtr x="0" y="-10638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4"/>
          <p:cNvSpPr txBox="1">
            <a:spLocks/>
          </p:cNvSpPr>
          <p:nvPr/>
        </p:nvSpPr>
        <p:spPr>
          <a:xfrm>
            <a:off x="520701" y="228601"/>
            <a:ext cx="11149013" cy="747897"/>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r>
              <a:rPr lang="pt-PT" dirty="0" err="1">
                <a:gradFill>
                  <a:gsLst>
                    <a:gs pos="1250">
                      <a:srgbClr val="1F497D"/>
                    </a:gs>
                    <a:gs pos="100000">
                      <a:srgbClr val="1F497D"/>
                    </a:gs>
                  </a:gsLst>
                  <a:lin ang="5400000" scaled="0"/>
                </a:gradFill>
                <a:latin typeface="Segoe UI Light"/>
              </a:rPr>
              <a:t>Simple</a:t>
            </a:r>
            <a:r>
              <a:rPr lang="pt-PT" dirty="0">
                <a:gradFill>
                  <a:gsLst>
                    <a:gs pos="1250">
                      <a:srgbClr val="1F497D"/>
                    </a:gs>
                    <a:gs pos="100000">
                      <a:srgbClr val="1F497D"/>
                    </a:gs>
                  </a:gsLst>
                  <a:lin ang="5400000" scaled="0"/>
                </a:gradFill>
                <a:latin typeface="Segoe UI Light"/>
              </a:rPr>
              <a:t> </a:t>
            </a:r>
            <a:r>
              <a:rPr lang="pt-PT" dirty="0" err="1">
                <a:gradFill>
                  <a:gsLst>
                    <a:gs pos="1250">
                      <a:srgbClr val="1F497D"/>
                    </a:gs>
                    <a:gs pos="100000">
                      <a:srgbClr val="1F497D"/>
                    </a:gs>
                  </a:gsLst>
                  <a:lin ang="5400000" scaled="0"/>
                </a:gradFill>
                <a:latin typeface="Segoe UI Light"/>
              </a:rPr>
              <a:t>explanation</a:t>
            </a:r>
            <a:r>
              <a:rPr lang="pt-PT" dirty="0">
                <a:gradFill>
                  <a:gsLst>
                    <a:gs pos="1250">
                      <a:srgbClr val="1F497D"/>
                    </a:gs>
                    <a:gs pos="100000">
                      <a:srgbClr val="1F497D"/>
                    </a:gs>
                  </a:gsLst>
                  <a:lin ang="5400000" scaled="0"/>
                </a:gradFill>
                <a:latin typeface="Segoe UI Light"/>
              </a:rPr>
              <a:t> + </a:t>
            </a:r>
            <a:r>
              <a:rPr lang="pt-PT" dirty="0" err="1">
                <a:gradFill>
                  <a:gsLst>
                    <a:gs pos="1250">
                      <a:srgbClr val="1F497D"/>
                    </a:gs>
                    <a:gs pos="100000">
                      <a:srgbClr val="1F497D"/>
                    </a:gs>
                  </a:gsLst>
                  <a:lin ang="5400000" scaled="0"/>
                </a:gradFill>
                <a:latin typeface="Segoe UI Light"/>
              </a:rPr>
              <a:t>landing</a:t>
            </a:r>
            <a:r>
              <a:rPr lang="pt-PT" dirty="0">
                <a:gradFill>
                  <a:gsLst>
                    <a:gs pos="1250">
                      <a:srgbClr val="1F497D"/>
                    </a:gs>
                    <a:gs pos="100000">
                      <a:srgbClr val="1F497D"/>
                    </a:gs>
                  </a:gsLst>
                  <a:lin ang="5400000" scaled="0"/>
                </a:gradFill>
                <a:latin typeface="Segoe UI Light"/>
              </a:rPr>
              <a:t> </a:t>
            </a:r>
            <a:r>
              <a:rPr lang="pt-PT" dirty="0" err="1">
                <a:gradFill>
                  <a:gsLst>
                    <a:gs pos="1250">
                      <a:srgbClr val="1F497D"/>
                    </a:gs>
                    <a:gs pos="100000">
                      <a:srgbClr val="1F497D"/>
                    </a:gs>
                  </a:gsLst>
                  <a:lin ang="5400000" scaled="0"/>
                </a:gradFill>
                <a:latin typeface="Segoe UI Light"/>
              </a:rPr>
              <a:t>page</a:t>
            </a:r>
            <a:r>
              <a:rPr lang="pt-PT" dirty="0">
                <a:gradFill>
                  <a:gsLst>
                    <a:gs pos="1250">
                      <a:srgbClr val="1F497D"/>
                    </a:gs>
                    <a:gs pos="100000">
                      <a:srgbClr val="1F497D"/>
                    </a:gs>
                  </a:gsLst>
                  <a:lin ang="5400000" scaled="0"/>
                </a:gradFill>
                <a:latin typeface="Segoe UI Light"/>
              </a:rPr>
              <a:t> for </a:t>
            </a:r>
            <a:r>
              <a:rPr lang="pt-PT" dirty="0" err="1">
                <a:gradFill>
                  <a:gsLst>
                    <a:gs pos="1250">
                      <a:srgbClr val="1F497D"/>
                    </a:gs>
                    <a:gs pos="100000">
                      <a:srgbClr val="1F497D"/>
                    </a:gs>
                  </a:gsLst>
                  <a:lin ang="5400000" scaled="0"/>
                </a:gradFill>
                <a:latin typeface="Segoe UI Light"/>
              </a:rPr>
              <a:t>templates</a:t>
            </a:r>
            <a:endParaRPr lang="pt-PT" dirty="0">
              <a:gradFill>
                <a:gsLst>
                  <a:gs pos="1250">
                    <a:srgbClr val="1F497D"/>
                  </a:gs>
                  <a:gs pos="100000">
                    <a:srgbClr val="1F497D"/>
                  </a:gs>
                </a:gsLst>
                <a:lin ang="5400000" scaled="0"/>
              </a:gradFill>
              <a:latin typeface="Segoe UI Light"/>
            </a:endParaRPr>
          </a:p>
        </p:txBody>
      </p:sp>
      <p:pic>
        <p:nvPicPr>
          <p:cNvPr id="24" name="Picture 23"/>
          <p:cNvPicPr>
            <a:picLocks noChangeAspect="1"/>
          </p:cNvPicPr>
          <p:nvPr/>
        </p:nvPicPr>
        <p:blipFill>
          <a:blip r:embed="rId3"/>
          <a:stretch>
            <a:fillRect/>
          </a:stretch>
        </p:blipFill>
        <p:spPr>
          <a:xfrm>
            <a:off x="2911479" y="1691141"/>
            <a:ext cx="6369042" cy="5083680"/>
          </a:xfrm>
          <a:prstGeom prst="rect">
            <a:avLst/>
          </a:prstGeom>
        </p:spPr>
      </p:pic>
      <p:sp>
        <p:nvSpPr>
          <p:cNvPr id="25" name="Rectangle 24"/>
          <p:cNvSpPr/>
          <p:nvPr/>
        </p:nvSpPr>
        <p:spPr>
          <a:xfrm flipH="1">
            <a:off x="8514970" y="5944359"/>
            <a:ext cx="2633494" cy="830781"/>
          </a:xfrm>
          <a:prstGeom prst="rect">
            <a:avLst/>
          </a:prstGeom>
        </p:spPr>
        <p:txBody>
          <a:bodyPr wrap="square">
            <a:spAutoFit/>
          </a:bodyPr>
          <a:lstStyle/>
          <a:p>
            <a:pPr defTabSz="914126"/>
            <a:r>
              <a:rPr lang="en-US" sz="1600" dirty="0">
                <a:solidFill>
                  <a:prstClr val="black">
                    <a:lumMod val="85000"/>
                    <a:lumOff val="15000"/>
                  </a:prstClr>
                </a:solidFill>
                <a:latin typeface="Segoe UI Light" panose="020B0502040204020203" pitchFamily="34" charset="0"/>
                <a:cs typeface="Segoe UI Light" panose="020B0502040204020203" pitchFamily="34" charset="0"/>
              </a:rPr>
              <a:t>Easily share templates via social media or email with your colleagues or friends</a:t>
            </a:r>
            <a:endParaRPr lang="en-US" sz="1600" i="1" dirty="0">
              <a:solidFill>
                <a:prstClr val="black">
                  <a:lumMod val="85000"/>
                  <a:lumOff val="15000"/>
                </a:prstClr>
              </a:solidFill>
              <a:latin typeface="Segoe UI Light" panose="020B0502040204020203" pitchFamily="34" charset="0"/>
              <a:cs typeface="Segoe UI Light" panose="020B0502040204020203" pitchFamily="34" charset="0"/>
            </a:endParaRPr>
          </a:p>
        </p:txBody>
      </p:sp>
      <p:sp>
        <p:nvSpPr>
          <p:cNvPr id="26" name="Line Callout 2 (Accent Bar) 6"/>
          <p:cNvSpPr/>
          <p:nvPr/>
        </p:nvSpPr>
        <p:spPr>
          <a:xfrm>
            <a:off x="8414026" y="5895045"/>
            <a:ext cx="201892" cy="879776"/>
          </a:xfrm>
          <a:prstGeom prst="accentCallout2">
            <a:avLst>
              <a:gd name="adj1" fmla="val 79661"/>
              <a:gd name="adj2" fmla="val -8817"/>
              <a:gd name="adj3" fmla="val 79513"/>
              <a:gd name="adj4" fmla="val -230144"/>
              <a:gd name="adj5" fmla="val 37585"/>
              <a:gd name="adj6" fmla="val -597114"/>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dirty="0">
              <a:solidFill>
                <a:prstClr val="white"/>
              </a:solidFill>
              <a:latin typeface="Calibri" panose="020F0502020204030204"/>
            </a:endParaRPr>
          </a:p>
        </p:txBody>
      </p:sp>
      <p:sp>
        <p:nvSpPr>
          <p:cNvPr id="27" name="Rectangle 26"/>
          <p:cNvSpPr/>
          <p:nvPr/>
        </p:nvSpPr>
        <p:spPr>
          <a:xfrm>
            <a:off x="1613658" y="5914974"/>
            <a:ext cx="2455853" cy="830781"/>
          </a:xfrm>
          <a:prstGeom prst="rect">
            <a:avLst/>
          </a:prstGeom>
        </p:spPr>
        <p:txBody>
          <a:bodyPr wrap="square">
            <a:spAutoFit/>
          </a:bodyPr>
          <a:lstStyle/>
          <a:p>
            <a:pPr algn="r" defTabSz="914126"/>
            <a:r>
              <a:rPr lang="en-US" sz="1600" dirty="0">
                <a:solidFill>
                  <a:prstClr val="black">
                    <a:lumMod val="85000"/>
                    <a:lumOff val="15000"/>
                  </a:prstClr>
                </a:solidFill>
                <a:latin typeface="Segoe UI Light" panose="020B0502040204020203" pitchFamily="34" charset="0"/>
                <a:cs typeface="Segoe UI Light" panose="020B0502040204020203" pitchFamily="34" charset="0"/>
              </a:rPr>
              <a:t>See how much this template has been used and who published it</a:t>
            </a:r>
          </a:p>
        </p:txBody>
      </p:sp>
      <p:sp>
        <p:nvSpPr>
          <p:cNvPr id="28" name="Line Callout 2 (Accent Bar) 8"/>
          <p:cNvSpPr/>
          <p:nvPr/>
        </p:nvSpPr>
        <p:spPr>
          <a:xfrm flipH="1">
            <a:off x="3910787" y="5978848"/>
            <a:ext cx="158725" cy="761802"/>
          </a:xfrm>
          <a:prstGeom prst="accentCallout2">
            <a:avLst>
              <a:gd name="adj1" fmla="val 47137"/>
              <a:gd name="adj2" fmla="val -14526"/>
              <a:gd name="adj3" fmla="val 31372"/>
              <a:gd name="adj4" fmla="val -260810"/>
              <a:gd name="adj5" fmla="val 30733"/>
              <a:gd name="adj6" fmla="val -424777"/>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dirty="0">
              <a:solidFill>
                <a:prstClr val="white"/>
              </a:solidFill>
              <a:latin typeface="Calibri" panose="020F0502020204030204"/>
            </a:endParaRPr>
          </a:p>
        </p:txBody>
      </p:sp>
      <p:sp>
        <p:nvSpPr>
          <p:cNvPr id="29" name="Line Callout 2 (Accent Bar) 9"/>
          <p:cNvSpPr/>
          <p:nvPr/>
        </p:nvSpPr>
        <p:spPr>
          <a:xfrm>
            <a:off x="9441229" y="3860056"/>
            <a:ext cx="201892" cy="879776"/>
          </a:xfrm>
          <a:prstGeom prst="accentCallout2">
            <a:avLst>
              <a:gd name="adj1" fmla="val 79661"/>
              <a:gd name="adj2" fmla="val -8817"/>
              <a:gd name="adj3" fmla="val 117501"/>
              <a:gd name="adj4" fmla="val -273962"/>
              <a:gd name="adj5" fmla="val 118030"/>
              <a:gd name="adj6" fmla="val -786997"/>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dirty="0">
              <a:solidFill>
                <a:prstClr val="white"/>
              </a:solidFill>
              <a:latin typeface="Calibri" panose="020F0502020204030204"/>
            </a:endParaRPr>
          </a:p>
        </p:txBody>
      </p:sp>
      <p:sp>
        <p:nvSpPr>
          <p:cNvPr id="30" name="Rectangle 29"/>
          <p:cNvSpPr/>
          <p:nvPr/>
        </p:nvSpPr>
        <p:spPr>
          <a:xfrm flipH="1">
            <a:off x="9441229" y="3860057"/>
            <a:ext cx="2454293" cy="830781"/>
          </a:xfrm>
          <a:prstGeom prst="rect">
            <a:avLst/>
          </a:prstGeom>
        </p:spPr>
        <p:txBody>
          <a:bodyPr wrap="square">
            <a:spAutoFit/>
          </a:bodyPr>
          <a:lstStyle/>
          <a:p>
            <a:pPr defTabSz="914126"/>
            <a:r>
              <a:rPr lang="en-US" sz="1600" dirty="0">
                <a:solidFill>
                  <a:prstClr val="black">
                    <a:lumMod val="85000"/>
                    <a:lumOff val="15000"/>
                  </a:prstClr>
                </a:solidFill>
                <a:latin typeface="Segoe UI Light" panose="020B0502040204020203" pitchFamily="34" charset="0"/>
                <a:cs typeface="Segoe UI Light" panose="020B0502040204020203" pitchFamily="34" charset="0"/>
              </a:rPr>
              <a:t>Detailed description of what the template does and needs</a:t>
            </a:r>
            <a:endParaRPr lang="en-US" sz="1600" i="1" dirty="0">
              <a:solidFill>
                <a:prstClr val="black">
                  <a:lumMod val="85000"/>
                  <a:lumOff val="15000"/>
                </a:prstClr>
              </a:solidFill>
              <a:latin typeface="Segoe UI Light" panose="020B0502040204020203" pitchFamily="34" charset="0"/>
              <a:cs typeface="Segoe UI Light" panose="020B0502040204020203" pitchFamily="34" charset="0"/>
            </a:endParaRPr>
          </a:p>
        </p:txBody>
      </p:sp>
      <p:sp>
        <p:nvSpPr>
          <p:cNvPr id="31" name="Line Callout 2 (Accent Bar) 12"/>
          <p:cNvSpPr/>
          <p:nvPr/>
        </p:nvSpPr>
        <p:spPr>
          <a:xfrm flipH="1">
            <a:off x="2549247" y="4852430"/>
            <a:ext cx="201524" cy="711535"/>
          </a:xfrm>
          <a:prstGeom prst="accentCallout2">
            <a:avLst>
              <a:gd name="adj1" fmla="val 47137"/>
              <a:gd name="adj2" fmla="val -14526"/>
              <a:gd name="adj3" fmla="val 111402"/>
              <a:gd name="adj4" fmla="val -480306"/>
              <a:gd name="adj5" fmla="val 108711"/>
              <a:gd name="adj6" fmla="val -1019855"/>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dirty="0">
              <a:solidFill>
                <a:prstClr val="white"/>
              </a:solidFill>
              <a:latin typeface="Calibri" panose="020F0502020204030204"/>
            </a:endParaRPr>
          </a:p>
        </p:txBody>
      </p:sp>
    </p:spTree>
    <p:extLst>
      <p:ext uri="{BB962C8B-B14F-4D97-AF65-F5344CB8AC3E}">
        <p14:creationId xmlns:p14="http://schemas.microsoft.com/office/powerpoint/2010/main" val="2580390720"/>
      </p:ext>
    </p:extLst>
  </p:cSld>
  <p:clrMapOvr>
    <a:masterClrMapping/>
  </p:clrMapOvr>
  <p:transition spd="slow">
    <p:push dir="u"/>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4"/>
          <p:cNvSpPr txBox="1">
            <a:spLocks/>
          </p:cNvSpPr>
          <p:nvPr/>
        </p:nvSpPr>
        <p:spPr>
          <a:xfrm>
            <a:off x="520701" y="228601"/>
            <a:ext cx="11149013" cy="747897"/>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gradFill>
                  <a:gsLst>
                    <a:gs pos="1250">
                      <a:srgbClr val="1F497D"/>
                    </a:gs>
                    <a:gs pos="100000">
                      <a:srgbClr val="1F497D"/>
                    </a:gs>
                  </a:gsLst>
                  <a:lin ang="5400000" scaled="0"/>
                </a:gradFill>
                <a:latin typeface="Segoe UI Light"/>
              </a:rPr>
              <a:t>Build your own flow from scratch</a:t>
            </a:r>
          </a:p>
        </p:txBody>
      </p:sp>
      <p:sp>
        <p:nvSpPr>
          <p:cNvPr id="11" name="Content Placeholder 2"/>
          <p:cNvSpPr>
            <a:spLocks noGrp="1"/>
          </p:cNvSpPr>
          <p:nvPr>
            <p:ph idx="1"/>
          </p:nvPr>
        </p:nvSpPr>
        <p:spPr>
          <a:xfrm>
            <a:off x="629576" y="1401832"/>
            <a:ext cx="3901226" cy="594169"/>
          </a:xfrm>
        </p:spPr>
        <p:txBody>
          <a:bodyPr>
            <a:normAutofit/>
          </a:bodyPr>
          <a:lstStyle/>
          <a:p>
            <a:pPr marL="0" indent="0">
              <a:buNone/>
            </a:pPr>
            <a:r>
              <a:rPr lang="en-US" sz="1600" dirty="0">
                <a:latin typeface="Segoe UI Light" panose="020B0502040204020203" pitchFamily="34" charset="0"/>
                <a:cs typeface="Segoe UI Light" panose="020B0502040204020203" pitchFamily="34" charset="0"/>
              </a:rPr>
              <a:t>Sending an Exchange email when a new file is added in Dropbox</a:t>
            </a:r>
          </a:p>
        </p:txBody>
      </p:sp>
      <p:grpSp>
        <p:nvGrpSpPr>
          <p:cNvPr id="12" name="Group 11"/>
          <p:cNvGrpSpPr/>
          <p:nvPr/>
        </p:nvGrpSpPr>
        <p:grpSpPr>
          <a:xfrm>
            <a:off x="373310" y="3118070"/>
            <a:ext cx="11050223" cy="3131562"/>
            <a:chOff x="371818" y="3117989"/>
            <a:chExt cx="11053101" cy="3132378"/>
          </a:xfrm>
        </p:grpSpPr>
        <p:grpSp>
          <p:nvGrpSpPr>
            <p:cNvPr id="13" name="Group 12"/>
            <p:cNvGrpSpPr/>
            <p:nvPr/>
          </p:nvGrpSpPr>
          <p:grpSpPr>
            <a:xfrm>
              <a:off x="371818" y="4322107"/>
              <a:ext cx="3877054" cy="914400"/>
              <a:chOff x="553270" y="2032528"/>
              <a:chExt cx="2321314" cy="914400"/>
            </a:xfrm>
          </p:grpSpPr>
          <p:sp>
            <p:nvSpPr>
              <p:cNvPr id="33" name="Rectangle 32"/>
              <p:cNvSpPr/>
              <p:nvPr/>
            </p:nvSpPr>
            <p:spPr>
              <a:xfrm>
                <a:off x="553270" y="2032528"/>
                <a:ext cx="2321314" cy="830997"/>
              </a:xfrm>
              <a:prstGeom prst="rect">
                <a:avLst/>
              </a:prstGeom>
            </p:spPr>
            <p:txBody>
              <a:bodyPr wrap="square">
                <a:spAutoFit/>
              </a:bodyPr>
              <a:lstStyle/>
              <a:p>
                <a:pPr algn="r" defTabSz="914126"/>
                <a:r>
                  <a:rPr lang="en-US" sz="1600" dirty="0">
                    <a:solidFill>
                      <a:prstClr val="black">
                        <a:lumMod val="85000"/>
                        <a:lumOff val="15000"/>
                      </a:prstClr>
                    </a:solidFill>
                    <a:latin typeface="Segoe UI Light" panose="020B0502040204020203" pitchFamily="34" charset="0"/>
                    <a:cs typeface="Segoe UI Light" panose="020B0502040204020203" pitchFamily="34" charset="0"/>
                  </a:rPr>
                  <a:t>Authenticate to your O365 account.</a:t>
                </a:r>
                <a:br>
                  <a:rPr lang="en-US" sz="1600" dirty="0">
                    <a:solidFill>
                      <a:prstClr val="black">
                        <a:lumMod val="85000"/>
                        <a:lumOff val="15000"/>
                      </a:prstClr>
                    </a:solidFill>
                    <a:latin typeface="Segoe UI Light" panose="020B0502040204020203" pitchFamily="34" charset="0"/>
                    <a:cs typeface="Segoe UI Light" panose="020B0502040204020203" pitchFamily="34" charset="0"/>
                  </a:rPr>
                </a:br>
                <a:br>
                  <a:rPr lang="en-US" sz="1600" dirty="0">
                    <a:solidFill>
                      <a:prstClr val="black">
                        <a:lumMod val="85000"/>
                        <a:lumOff val="15000"/>
                      </a:prstClr>
                    </a:solidFill>
                    <a:latin typeface="Segoe UI Light" panose="020B0502040204020203" pitchFamily="34" charset="0"/>
                    <a:cs typeface="Segoe UI Light" panose="020B0502040204020203" pitchFamily="34" charset="0"/>
                  </a:rPr>
                </a:br>
                <a:r>
                  <a:rPr lang="en-US" sz="1600" dirty="0">
                    <a:solidFill>
                      <a:prstClr val="black">
                        <a:lumMod val="85000"/>
                        <a:lumOff val="15000"/>
                      </a:prstClr>
                    </a:solidFill>
                    <a:latin typeface="Segoe UI Light" panose="020B0502040204020203" pitchFamily="34" charset="0"/>
                    <a:cs typeface="Segoe UI Light" panose="020B0502040204020203" pitchFamily="34" charset="0"/>
                  </a:rPr>
                  <a:t>Build email </a:t>
                </a:r>
                <a:r>
                  <a:rPr lang="en-US" sz="1600" i="1" dirty="0">
                    <a:solidFill>
                      <a:prstClr val="black">
                        <a:lumMod val="85000"/>
                        <a:lumOff val="15000"/>
                      </a:prstClr>
                    </a:solidFill>
                    <a:latin typeface="Segoe UI Light" panose="020B0502040204020203" pitchFamily="34" charset="0"/>
                    <a:cs typeface="Segoe UI Light" panose="020B0502040204020203" pitchFamily="34" charset="0"/>
                  </a:rPr>
                  <a:t>Subject</a:t>
                </a:r>
                <a:r>
                  <a:rPr lang="en-US" sz="1600" dirty="0">
                    <a:solidFill>
                      <a:prstClr val="black">
                        <a:lumMod val="85000"/>
                        <a:lumOff val="15000"/>
                      </a:prstClr>
                    </a:solidFill>
                    <a:latin typeface="Segoe UI Light" panose="020B0502040204020203" pitchFamily="34" charset="0"/>
                    <a:cs typeface="Segoe UI Light" panose="020B0502040204020203" pitchFamily="34" charset="0"/>
                  </a:rPr>
                  <a:t> and </a:t>
                </a:r>
                <a:r>
                  <a:rPr lang="en-US" sz="1600" i="1" dirty="0">
                    <a:solidFill>
                      <a:prstClr val="black">
                        <a:lumMod val="85000"/>
                        <a:lumOff val="15000"/>
                      </a:prstClr>
                    </a:solidFill>
                    <a:latin typeface="Segoe UI Light" panose="020B0502040204020203" pitchFamily="34" charset="0"/>
                    <a:cs typeface="Segoe UI Light" panose="020B0502040204020203" pitchFamily="34" charset="0"/>
                  </a:rPr>
                  <a:t>Body</a:t>
                </a:r>
              </a:p>
            </p:txBody>
          </p:sp>
          <p:sp>
            <p:nvSpPr>
              <p:cNvPr id="34" name="Line Callout 2 (Accent Bar) 15"/>
              <p:cNvSpPr/>
              <p:nvPr/>
            </p:nvSpPr>
            <p:spPr>
              <a:xfrm flipH="1">
                <a:off x="2790615" y="2184928"/>
                <a:ext cx="83968" cy="762000"/>
              </a:xfrm>
              <a:prstGeom prst="accentCallout2">
                <a:avLst>
                  <a:gd name="adj1" fmla="val 18750"/>
                  <a:gd name="adj2" fmla="val -8333"/>
                  <a:gd name="adj3" fmla="val -5738"/>
                  <a:gd name="adj4" fmla="val -198011"/>
                  <a:gd name="adj5" fmla="val -99148"/>
                  <a:gd name="adj6" fmla="val -432842"/>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dirty="0">
                  <a:solidFill>
                    <a:prstClr val="white"/>
                  </a:solidFill>
                  <a:latin typeface="Calibri" panose="020F0502020204030204"/>
                </a:endParaRPr>
              </a:p>
            </p:txBody>
          </p:sp>
        </p:grpSp>
        <p:grpSp>
          <p:nvGrpSpPr>
            <p:cNvPr id="14" name="Group 13"/>
            <p:cNvGrpSpPr/>
            <p:nvPr/>
          </p:nvGrpSpPr>
          <p:grpSpPr>
            <a:xfrm flipH="1">
              <a:off x="8399679" y="3514284"/>
              <a:ext cx="2783577" cy="1002791"/>
              <a:chOff x="601534" y="1914403"/>
              <a:chExt cx="2321314" cy="1002791"/>
            </a:xfrm>
          </p:grpSpPr>
          <p:sp>
            <p:nvSpPr>
              <p:cNvPr id="22" name="Rectangle 21"/>
              <p:cNvSpPr/>
              <p:nvPr/>
            </p:nvSpPr>
            <p:spPr>
              <a:xfrm>
                <a:off x="601534" y="1914403"/>
                <a:ext cx="2321314" cy="830997"/>
              </a:xfrm>
              <a:prstGeom prst="rect">
                <a:avLst/>
              </a:prstGeom>
            </p:spPr>
            <p:txBody>
              <a:bodyPr wrap="square">
                <a:spAutoFit/>
              </a:bodyPr>
              <a:lstStyle/>
              <a:p>
                <a:pPr defTabSz="914126"/>
                <a:r>
                  <a:rPr lang="en-US" sz="1600" dirty="0">
                    <a:solidFill>
                      <a:prstClr val="black">
                        <a:lumMod val="85000"/>
                        <a:lumOff val="15000"/>
                      </a:prstClr>
                    </a:solidFill>
                    <a:latin typeface="Segoe UI Light" panose="020B0502040204020203" pitchFamily="34" charset="0"/>
                    <a:cs typeface="Segoe UI Light" panose="020B0502040204020203" pitchFamily="34" charset="0"/>
                  </a:rPr>
                  <a:t>Choose to include properties from previous step (Dropbox file) to improve relevance</a:t>
                </a:r>
              </a:p>
            </p:txBody>
          </p:sp>
          <p:sp>
            <p:nvSpPr>
              <p:cNvPr id="32" name="Line Callout 2 (Accent Bar) 18"/>
              <p:cNvSpPr/>
              <p:nvPr/>
            </p:nvSpPr>
            <p:spPr>
              <a:xfrm flipH="1">
                <a:off x="2762508" y="2037189"/>
                <a:ext cx="160340" cy="880005"/>
              </a:xfrm>
              <a:prstGeom prst="accentCallout2">
                <a:avLst>
                  <a:gd name="adj1" fmla="val 79661"/>
                  <a:gd name="adj2" fmla="val -8817"/>
                  <a:gd name="adj3" fmla="val 82284"/>
                  <a:gd name="adj4" fmla="val -545901"/>
                  <a:gd name="adj5" fmla="val 82917"/>
                  <a:gd name="adj6" fmla="val -565874"/>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dirty="0">
                  <a:solidFill>
                    <a:prstClr val="white"/>
                  </a:solidFill>
                  <a:latin typeface="Calibri" panose="020F0502020204030204"/>
                </a:endParaRPr>
              </a:p>
            </p:txBody>
          </p:sp>
        </p:grpSp>
        <p:grpSp>
          <p:nvGrpSpPr>
            <p:cNvPr id="15" name="Group 14"/>
            <p:cNvGrpSpPr/>
            <p:nvPr/>
          </p:nvGrpSpPr>
          <p:grpSpPr>
            <a:xfrm flipH="1">
              <a:off x="8501278" y="5153104"/>
              <a:ext cx="2923641" cy="1077218"/>
              <a:chOff x="556572" y="2328862"/>
              <a:chExt cx="2321314" cy="1077218"/>
            </a:xfrm>
          </p:grpSpPr>
          <p:sp>
            <p:nvSpPr>
              <p:cNvPr id="20" name="Rectangle 19"/>
              <p:cNvSpPr/>
              <p:nvPr/>
            </p:nvSpPr>
            <p:spPr>
              <a:xfrm>
                <a:off x="556572" y="2328862"/>
                <a:ext cx="2321314" cy="1077218"/>
              </a:xfrm>
              <a:prstGeom prst="rect">
                <a:avLst/>
              </a:prstGeom>
            </p:spPr>
            <p:txBody>
              <a:bodyPr wrap="square">
                <a:spAutoFit/>
              </a:bodyPr>
              <a:lstStyle/>
              <a:p>
                <a:pPr defTabSz="914126"/>
                <a:r>
                  <a:rPr lang="en-US" sz="1600" dirty="0">
                    <a:solidFill>
                      <a:prstClr val="black">
                        <a:lumMod val="85000"/>
                        <a:lumOff val="15000"/>
                      </a:prstClr>
                    </a:solidFill>
                    <a:latin typeface="Segoe UI Light" panose="020B0502040204020203" pitchFamily="34" charset="0"/>
                    <a:cs typeface="Segoe UI Light" panose="020B0502040204020203" pitchFamily="34" charset="0"/>
                  </a:rPr>
                  <a:t>Specify </a:t>
                </a:r>
                <a:r>
                  <a:rPr lang="en-US" sz="1600" i="1" dirty="0">
                    <a:solidFill>
                      <a:prstClr val="black">
                        <a:lumMod val="85000"/>
                        <a:lumOff val="15000"/>
                      </a:prstClr>
                    </a:solidFill>
                    <a:latin typeface="Segoe UI Light" panose="020B0502040204020203" pitchFamily="34" charset="0"/>
                    <a:cs typeface="Segoe UI Light" panose="020B0502040204020203" pitchFamily="34" charset="0"/>
                  </a:rPr>
                  <a:t>Send To</a:t>
                </a:r>
                <a:r>
                  <a:rPr lang="en-US" sz="1600" dirty="0">
                    <a:solidFill>
                      <a:prstClr val="black">
                        <a:lumMod val="85000"/>
                        <a:lumOff val="15000"/>
                      </a:prstClr>
                    </a:solidFill>
                    <a:latin typeface="Segoe UI Light" panose="020B0502040204020203" pitchFamily="34" charset="0"/>
                    <a:cs typeface="Segoe UI Light" panose="020B0502040204020203" pitchFamily="34" charset="0"/>
                  </a:rPr>
                  <a:t> email address and additional properties (optional): </a:t>
                </a:r>
                <a:r>
                  <a:rPr lang="en-US" sz="1600" i="1" dirty="0">
                    <a:solidFill>
                      <a:prstClr val="black">
                        <a:lumMod val="85000"/>
                        <a:lumOff val="15000"/>
                      </a:prstClr>
                    </a:solidFill>
                    <a:latin typeface="Segoe UI Light" panose="020B0502040204020203" pitchFamily="34" charset="0"/>
                    <a:cs typeface="Segoe UI Light" panose="020B0502040204020203" pitchFamily="34" charset="0"/>
                  </a:rPr>
                  <a:t>From</a:t>
                </a:r>
                <a:r>
                  <a:rPr lang="en-US" sz="1600" dirty="0">
                    <a:solidFill>
                      <a:prstClr val="black">
                        <a:lumMod val="85000"/>
                        <a:lumOff val="15000"/>
                      </a:prstClr>
                    </a:solidFill>
                    <a:latin typeface="Segoe UI Light" panose="020B0502040204020203" pitchFamily="34" charset="0"/>
                    <a:cs typeface="Segoe UI Light" panose="020B0502040204020203" pitchFamily="34" charset="0"/>
                  </a:rPr>
                  <a:t>, </a:t>
                </a:r>
                <a:r>
                  <a:rPr lang="en-US" sz="1600" i="1" dirty="0">
                    <a:solidFill>
                      <a:prstClr val="black">
                        <a:lumMod val="85000"/>
                        <a:lumOff val="15000"/>
                      </a:prstClr>
                    </a:solidFill>
                    <a:latin typeface="Segoe UI Light" panose="020B0502040204020203" pitchFamily="34" charset="0"/>
                    <a:cs typeface="Segoe UI Light" panose="020B0502040204020203" pitchFamily="34" charset="0"/>
                  </a:rPr>
                  <a:t>CC</a:t>
                </a:r>
                <a:r>
                  <a:rPr lang="en-US" sz="1600" dirty="0">
                    <a:solidFill>
                      <a:prstClr val="black">
                        <a:lumMod val="85000"/>
                        <a:lumOff val="15000"/>
                      </a:prstClr>
                    </a:solidFill>
                    <a:latin typeface="Segoe UI Light" panose="020B0502040204020203" pitchFamily="34" charset="0"/>
                    <a:cs typeface="Segoe UI Light" panose="020B0502040204020203" pitchFamily="34" charset="0"/>
                  </a:rPr>
                  <a:t>, </a:t>
                </a:r>
                <a:r>
                  <a:rPr lang="en-US" sz="1600" i="1" dirty="0">
                    <a:solidFill>
                      <a:prstClr val="black">
                        <a:lumMod val="85000"/>
                        <a:lumOff val="15000"/>
                      </a:prstClr>
                    </a:solidFill>
                    <a:latin typeface="Segoe UI Light" panose="020B0502040204020203" pitchFamily="34" charset="0"/>
                    <a:cs typeface="Segoe UI Light" panose="020B0502040204020203" pitchFamily="34" charset="0"/>
                  </a:rPr>
                  <a:t>BCC</a:t>
                </a:r>
                <a:r>
                  <a:rPr lang="en-US" sz="1600" dirty="0">
                    <a:solidFill>
                      <a:prstClr val="black">
                        <a:lumMod val="85000"/>
                        <a:lumOff val="15000"/>
                      </a:prstClr>
                    </a:solidFill>
                    <a:latin typeface="Segoe UI Light" panose="020B0502040204020203" pitchFamily="34" charset="0"/>
                    <a:cs typeface="Segoe UI Light" panose="020B0502040204020203" pitchFamily="34" charset="0"/>
                  </a:rPr>
                  <a:t> and </a:t>
                </a:r>
                <a:r>
                  <a:rPr lang="en-US" sz="1600" i="1" dirty="0">
                    <a:solidFill>
                      <a:prstClr val="black">
                        <a:lumMod val="85000"/>
                        <a:lumOff val="15000"/>
                      </a:prstClr>
                    </a:solidFill>
                    <a:latin typeface="Segoe UI Light" panose="020B0502040204020203" pitchFamily="34" charset="0"/>
                    <a:cs typeface="Segoe UI Light" panose="020B0502040204020203" pitchFamily="34" charset="0"/>
                  </a:rPr>
                  <a:t>Importance</a:t>
                </a:r>
              </a:p>
            </p:txBody>
          </p:sp>
          <p:sp>
            <p:nvSpPr>
              <p:cNvPr id="21" name="Line Callout 2 (Accent Bar) 21"/>
              <p:cNvSpPr/>
              <p:nvPr/>
            </p:nvSpPr>
            <p:spPr>
              <a:xfrm flipH="1">
                <a:off x="2717546" y="2439456"/>
                <a:ext cx="160340" cy="880005"/>
              </a:xfrm>
              <a:prstGeom prst="accentCallout2">
                <a:avLst>
                  <a:gd name="adj1" fmla="val 79661"/>
                  <a:gd name="adj2" fmla="val -8817"/>
                  <a:gd name="adj3" fmla="val 79513"/>
                  <a:gd name="adj4" fmla="val -230144"/>
                  <a:gd name="adj5" fmla="val 37585"/>
                  <a:gd name="adj6" fmla="val -597114"/>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dirty="0">
                  <a:solidFill>
                    <a:prstClr val="white"/>
                  </a:solidFill>
                  <a:latin typeface="Calibri" panose="020F0502020204030204"/>
                </a:endParaRPr>
              </a:p>
            </p:txBody>
          </p:sp>
        </p:grpSp>
        <p:grpSp>
          <p:nvGrpSpPr>
            <p:cNvPr id="16" name="Group 15"/>
            <p:cNvGrpSpPr/>
            <p:nvPr/>
          </p:nvGrpSpPr>
          <p:grpSpPr>
            <a:xfrm>
              <a:off x="4945881" y="3117989"/>
              <a:ext cx="2288994" cy="3132378"/>
              <a:chOff x="5136381" y="2783224"/>
              <a:chExt cx="2288994" cy="3132378"/>
            </a:xfrm>
          </p:grpSpPr>
          <p:pic>
            <p:nvPicPr>
              <p:cNvPr id="17" name="Picture 16"/>
              <p:cNvPicPr>
                <a:picLocks noChangeAspect="1"/>
              </p:cNvPicPr>
              <p:nvPr/>
            </p:nvPicPr>
            <p:blipFill rotWithShape="1">
              <a:blip r:embed="rId3"/>
              <a:srcRect l="2752" t="32032" r="35637" b="2837"/>
              <a:stretch/>
            </p:blipFill>
            <p:spPr>
              <a:xfrm>
                <a:off x="5136381" y="2783224"/>
                <a:ext cx="2288994" cy="3132378"/>
              </a:xfrm>
              <a:prstGeom prst="rect">
                <a:avLst/>
              </a:prstGeom>
            </p:spPr>
          </p:pic>
          <p:sp>
            <p:nvSpPr>
              <p:cNvPr id="18" name="Rectangle 17"/>
              <p:cNvSpPr/>
              <p:nvPr/>
            </p:nvSpPr>
            <p:spPr>
              <a:xfrm>
                <a:off x="5194092" y="5686778"/>
                <a:ext cx="1057130" cy="1518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prstClr val="white"/>
                  </a:solidFill>
                  <a:latin typeface="Calibri" panose="020F0502020204030204"/>
                </a:endParaRPr>
              </a:p>
            </p:txBody>
          </p:sp>
          <p:sp>
            <p:nvSpPr>
              <p:cNvPr id="19" name="TextBox 18"/>
              <p:cNvSpPr txBox="1"/>
              <p:nvPr/>
            </p:nvSpPr>
            <p:spPr>
              <a:xfrm>
                <a:off x="5232898" y="5732638"/>
                <a:ext cx="1275852" cy="92333"/>
              </a:xfrm>
              <a:prstGeom prst="rect">
                <a:avLst/>
              </a:prstGeom>
              <a:solidFill>
                <a:srgbClr val="E5E5E5"/>
              </a:solidFill>
              <a:ln>
                <a:solidFill>
                  <a:srgbClr val="E5E5E5"/>
                </a:solidFill>
              </a:ln>
            </p:spPr>
            <p:txBody>
              <a:bodyPr wrap="square" lIns="0" tIns="0" rIns="0" bIns="0" rtlCol="0">
                <a:spAutoFit/>
              </a:bodyPr>
              <a:lstStyle/>
              <a:p>
                <a:pPr defTabSz="914126"/>
                <a:r>
                  <a:rPr lang="en-US" sz="600" dirty="0">
                    <a:solidFill>
                      <a:prstClr val="white">
                        <a:lumMod val="65000"/>
                      </a:prstClr>
                    </a:solidFill>
                    <a:latin typeface="Calibri" panose="020F0502020204030204"/>
                  </a:rPr>
                  <a:t>Connected to johnsharp@contoso.com</a:t>
                </a:r>
              </a:p>
            </p:txBody>
          </p:sp>
        </p:grpSp>
      </p:grpSp>
      <p:grpSp>
        <p:nvGrpSpPr>
          <p:cNvPr id="35" name="Group 34"/>
          <p:cNvGrpSpPr/>
          <p:nvPr/>
        </p:nvGrpSpPr>
        <p:grpSpPr>
          <a:xfrm>
            <a:off x="-138623" y="1735873"/>
            <a:ext cx="7349590" cy="1672655"/>
            <a:chOff x="-140247" y="1735430"/>
            <a:chExt cx="7351504" cy="1673091"/>
          </a:xfrm>
        </p:grpSpPr>
        <p:grpSp>
          <p:nvGrpSpPr>
            <p:cNvPr id="36" name="Group 35"/>
            <p:cNvGrpSpPr/>
            <p:nvPr/>
          </p:nvGrpSpPr>
          <p:grpSpPr>
            <a:xfrm>
              <a:off x="-140247" y="2494121"/>
              <a:ext cx="4389120" cy="914400"/>
              <a:chOff x="563066" y="2099554"/>
              <a:chExt cx="2321314" cy="914400"/>
            </a:xfrm>
          </p:grpSpPr>
          <p:sp>
            <p:nvSpPr>
              <p:cNvPr id="38" name="Rectangle 37"/>
              <p:cNvSpPr/>
              <p:nvPr/>
            </p:nvSpPr>
            <p:spPr>
              <a:xfrm>
                <a:off x="563066" y="2099554"/>
                <a:ext cx="2321314" cy="830997"/>
              </a:xfrm>
              <a:prstGeom prst="rect">
                <a:avLst/>
              </a:prstGeom>
            </p:spPr>
            <p:txBody>
              <a:bodyPr wrap="square">
                <a:spAutoFit/>
              </a:bodyPr>
              <a:lstStyle/>
              <a:p>
                <a:pPr algn="r" defTabSz="914126"/>
                <a:r>
                  <a:rPr lang="en-US" sz="1600" dirty="0">
                    <a:solidFill>
                      <a:prstClr val="black">
                        <a:lumMod val="85000"/>
                        <a:lumOff val="15000"/>
                      </a:prstClr>
                    </a:solidFill>
                    <a:latin typeface="Segoe UI Light" panose="020B0502040204020203" pitchFamily="34" charset="0"/>
                    <a:cs typeface="Segoe UI Light" panose="020B0502040204020203" pitchFamily="34" charset="0"/>
                  </a:rPr>
                  <a:t>Authenticate to your Dropbox account. </a:t>
                </a:r>
                <a:br>
                  <a:rPr lang="en-US" sz="1600" dirty="0">
                    <a:solidFill>
                      <a:prstClr val="black">
                        <a:lumMod val="85000"/>
                        <a:lumOff val="15000"/>
                      </a:prstClr>
                    </a:solidFill>
                    <a:latin typeface="Segoe UI Light" panose="020B0502040204020203" pitchFamily="34" charset="0"/>
                    <a:cs typeface="Segoe UI Light" panose="020B0502040204020203" pitchFamily="34" charset="0"/>
                  </a:rPr>
                </a:br>
                <a:endParaRPr lang="en-US" sz="1600" dirty="0">
                  <a:solidFill>
                    <a:prstClr val="black">
                      <a:lumMod val="85000"/>
                      <a:lumOff val="15000"/>
                    </a:prstClr>
                  </a:solidFill>
                  <a:latin typeface="Segoe UI Light" panose="020B0502040204020203" pitchFamily="34" charset="0"/>
                  <a:cs typeface="Segoe UI Light" panose="020B0502040204020203" pitchFamily="34" charset="0"/>
                </a:endParaRPr>
              </a:p>
              <a:p>
                <a:pPr algn="r" defTabSz="914126"/>
                <a:r>
                  <a:rPr lang="en-US" sz="1600" dirty="0">
                    <a:solidFill>
                      <a:prstClr val="black">
                        <a:lumMod val="85000"/>
                        <a:lumOff val="15000"/>
                      </a:prstClr>
                    </a:solidFill>
                    <a:latin typeface="Segoe UI Light" panose="020B0502040204020203" pitchFamily="34" charset="0"/>
                    <a:cs typeface="Segoe UI Light" panose="020B0502040204020203" pitchFamily="34" charset="0"/>
                  </a:rPr>
                  <a:t>Select folder to monitor</a:t>
                </a:r>
              </a:p>
            </p:txBody>
          </p:sp>
          <p:sp>
            <p:nvSpPr>
              <p:cNvPr id="39" name="Line Callout 2 (Accent Bar) 12"/>
              <p:cNvSpPr/>
              <p:nvPr/>
            </p:nvSpPr>
            <p:spPr>
              <a:xfrm flipH="1">
                <a:off x="2800411" y="2251954"/>
                <a:ext cx="83968" cy="762000"/>
              </a:xfrm>
              <a:prstGeom prst="accentCallout2">
                <a:avLst>
                  <a:gd name="adj1" fmla="val 18750"/>
                  <a:gd name="adj2" fmla="val -8333"/>
                  <a:gd name="adj3" fmla="val -7338"/>
                  <a:gd name="adj4" fmla="val -198881"/>
                  <a:gd name="adj5" fmla="val -40235"/>
                  <a:gd name="adj6" fmla="val -369041"/>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dirty="0">
                  <a:solidFill>
                    <a:prstClr val="white"/>
                  </a:solidFill>
                  <a:latin typeface="Calibri" panose="020F0502020204030204"/>
                </a:endParaRPr>
              </a:p>
            </p:txBody>
          </p:sp>
        </p:grpSp>
        <p:pic>
          <p:nvPicPr>
            <p:cNvPr id="37" name="Picture 36"/>
            <p:cNvPicPr>
              <a:picLocks noChangeAspect="1"/>
            </p:cNvPicPr>
            <p:nvPr/>
          </p:nvPicPr>
          <p:blipFill>
            <a:blip r:embed="rId4"/>
            <a:stretch>
              <a:fillRect/>
            </a:stretch>
          </p:blipFill>
          <p:spPr>
            <a:xfrm>
              <a:off x="4972199" y="1735430"/>
              <a:ext cx="2239058" cy="1212581"/>
            </a:xfrm>
            <a:prstGeom prst="rect">
              <a:avLst/>
            </a:prstGeom>
            <a:ln>
              <a:solidFill>
                <a:srgbClr val="0070C0"/>
              </a:solidFill>
            </a:ln>
          </p:spPr>
        </p:pic>
      </p:grpSp>
      <p:pic>
        <p:nvPicPr>
          <p:cNvPr id="40" name="Picture 39"/>
          <p:cNvPicPr>
            <a:picLocks noChangeAspect="1"/>
          </p:cNvPicPr>
          <p:nvPr/>
        </p:nvPicPr>
        <p:blipFill>
          <a:blip r:embed="rId5"/>
          <a:stretch>
            <a:fillRect/>
          </a:stretch>
        </p:blipFill>
        <p:spPr>
          <a:xfrm>
            <a:off x="6958872" y="2355826"/>
            <a:ext cx="1750598" cy="832033"/>
          </a:xfrm>
          <a:prstGeom prst="rect">
            <a:avLst/>
          </a:prstGeom>
          <a:ln>
            <a:solidFill>
              <a:srgbClr val="0070C0"/>
            </a:solidFill>
          </a:ln>
        </p:spPr>
      </p:pic>
      <p:sp>
        <p:nvSpPr>
          <p:cNvPr id="41" name="TextBox 40"/>
          <p:cNvSpPr txBox="1"/>
          <p:nvPr/>
        </p:nvSpPr>
        <p:spPr>
          <a:xfrm>
            <a:off x="5099192" y="2377256"/>
            <a:ext cx="722355" cy="200003"/>
          </a:xfrm>
          <a:prstGeom prst="rect">
            <a:avLst/>
          </a:prstGeom>
          <a:solidFill>
            <a:schemeClr val="bg1"/>
          </a:solidFill>
        </p:spPr>
        <p:txBody>
          <a:bodyPr wrap="square" rtlCol="0">
            <a:spAutoFit/>
          </a:bodyPr>
          <a:lstStyle/>
          <a:p>
            <a:pPr defTabSz="914126"/>
            <a:r>
              <a:rPr lang="en-US" sz="700" dirty="0">
                <a:solidFill>
                  <a:prstClr val="white">
                    <a:lumMod val="50000"/>
                  </a:prstClr>
                </a:solidFill>
                <a:latin typeface="Segoe UI" panose="020B0502040204020203" pitchFamily="34" charset="0"/>
                <a:cs typeface="Segoe UI" panose="020B0502040204020203" pitchFamily="34" charset="0"/>
              </a:rPr>
              <a:t>PowerApps</a:t>
            </a:r>
          </a:p>
        </p:txBody>
      </p:sp>
      <p:cxnSp>
        <p:nvCxnSpPr>
          <p:cNvPr id="42" name="Straight Arrow Connector 41"/>
          <p:cNvCxnSpPr/>
          <p:nvPr/>
        </p:nvCxnSpPr>
        <p:spPr>
          <a:xfrm>
            <a:off x="6009783" y="2900471"/>
            <a:ext cx="970" cy="25431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pic>
        <p:nvPicPr>
          <p:cNvPr id="43" name="Picture 42"/>
          <p:cNvPicPr>
            <a:picLocks noChangeAspect="1"/>
          </p:cNvPicPr>
          <p:nvPr/>
        </p:nvPicPr>
        <p:blipFill>
          <a:blip r:embed="rId6"/>
          <a:stretch>
            <a:fillRect/>
          </a:stretch>
        </p:blipFill>
        <p:spPr>
          <a:xfrm>
            <a:off x="6278783" y="6038590"/>
            <a:ext cx="644871" cy="140467"/>
          </a:xfrm>
          <a:prstGeom prst="rect">
            <a:avLst/>
          </a:prstGeom>
        </p:spPr>
      </p:pic>
    </p:spTree>
    <p:extLst>
      <p:ext uri="{BB962C8B-B14F-4D97-AF65-F5344CB8AC3E}">
        <p14:creationId xmlns:p14="http://schemas.microsoft.com/office/powerpoint/2010/main" val="342004422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wipe(up)">
                                      <p:cBhvr>
                                        <p:cTn id="7" dur="300"/>
                                        <p:tgtEl>
                                          <p:spTgt spid="35"/>
                                        </p:tgtEl>
                                      </p:cBhvr>
                                    </p:animEffect>
                                  </p:childTnLst>
                                </p:cTn>
                              </p:par>
                            </p:childTnLst>
                          </p:cTn>
                        </p:par>
                        <p:par>
                          <p:cTn id="8" fill="hold">
                            <p:stCondLst>
                              <p:cond delay="300"/>
                            </p:stCondLst>
                            <p:childTnLst>
                              <p:par>
                                <p:cTn id="9" presetID="22" presetClass="entr" presetSubtype="8" fill="hold" nodeType="afterEffect">
                                  <p:stCondLst>
                                    <p:cond delay="300"/>
                                  </p:stCondLst>
                                  <p:childTnLst>
                                    <p:set>
                                      <p:cBhvr>
                                        <p:cTn id="10" dur="1" fill="hold">
                                          <p:stCondLst>
                                            <p:cond delay="0"/>
                                          </p:stCondLst>
                                        </p:cTn>
                                        <p:tgtEl>
                                          <p:spTgt spid="40"/>
                                        </p:tgtEl>
                                        <p:attrNameLst>
                                          <p:attrName>style.visibility</p:attrName>
                                        </p:attrNameLst>
                                      </p:cBhvr>
                                      <p:to>
                                        <p:strVal val="visible"/>
                                      </p:to>
                                    </p:set>
                                    <p:animEffect transition="in" filter="wipe(left)">
                                      <p:cBhvr>
                                        <p:cTn id="11" dur="500"/>
                                        <p:tgtEl>
                                          <p:spTgt spid="40"/>
                                        </p:tgtEl>
                                      </p:cBhvr>
                                    </p:animEffect>
                                  </p:childTnLst>
                                </p:cTn>
                              </p:par>
                            </p:childTnLst>
                          </p:cTn>
                        </p:par>
                        <p:par>
                          <p:cTn id="12" fill="hold">
                            <p:stCondLst>
                              <p:cond delay="1100"/>
                            </p:stCondLst>
                            <p:childTnLst>
                              <p:par>
                                <p:cTn id="13" presetID="22" presetClass="entr" presetSubtype="8" fill="hold" grpId="0" nodeType="afterEffect">
                                  <p:stCondLst>
                                    <p:cond delay="300"/>
                                  </p:stCondLst>
                                  <p:childTnLst>
                                    <p:set>
                                      <p:cBhvr>
                                        <p:cTn id="14" dur="1" fill="hold">
                                          <p:stCondLst>
                                            <p:cond delay="0"/>
                                          </p:stCondLst>
                                        </p:cTn>
                                        <p:tgtEl>
                                          <p:spTgt spid="41"/>
                                        </p:tgtEl>
                                        <p:attrNameLst>
                                          <p:attrName>style.visibility</p:attrName>
                                        </p:attrNameLst>
                                      </p:cBhvr>
                                      <p:to>
                                        <p:strVal val="visible"/>
                                      </p:to>
                                    </p:set>
                                    <p:animEffect transition="in" filter="wipe(left)">
                                      <p:cBhvr>
                                        <p:cTn id="15" dur="500"/>
                                        <p:tgtEl>
                                          <p:spTgt spid="41"/>
                                        </p:tgtEl>
                                      </p:cBhvr>
                                    </p:animEffect>
                                  </p:childTnLst>
                                </p:cTn>
                              </p:par>
                            </p:childTnLst>
                          </p:cTn>
                        </p:par>
                        <p:par>
                          <p:cTn id="16" fill="hold">
                            <p:stCondLst>
                              <p:cond delay="1900"/>
                            </p:stCondLst>
                            <p:childTnLst>
                              <p:par>
                                <p:cTn id="17" presetID="10" presetClass="entr" presetSubtype="0" fill="hold" nodeType="afterEffect">
                                  <p:stCondLst>
                                    <p:cond delay="300"/>
                                  </p:stCondLst>
                                  <p:childTnLst>
                                    <p:set>
                                      <p:cBhvr>
                                        <p:cTn id="18" dur="1" fill="hold">
                                          <p:stCondLst>
                                            <p:cond delay="0"/>
                                          </p:stCondLst>
                                        </p:cTn>
                                        <p:tgtEl>
                                          <p:spTgt spid="42"/>
                                        </p:tgtEl>
                                        <p:attrNameLst>
                                          <p:attrName>style.visibility</p:attrName>
                                        </p:attrNameLst>
                                      </p:cBhvr>
                                      <p:to>
                                        <p:strVal val="visible"/>
                                      </p:to>
                                    </p:set>
                                    <p:animEffect transition="in" filter="fade">
                                      <p:cBhvr>
                                        <p:cTn id="19" dur="500"/>
                                        <p:tgtEl>
                                          <p:spTgt spid="42"/>
                                        </p:tgtEl>
                                      </p:cBhvr>
                                    </p:animEffect>
                                  </p:childTnLst>
                                </p:cTn>
                              </p:par>
                            </p:childTnLst>
                          </p:cTn>
                        </p:par>
                        <p:par>
                          <p:cTn id="20" fill="hold">
                            <p:stCondLst>
                              <p:cond delay="2700"/>
                            </p:stCondLst>
                            <p:childTnLst>
                              <p:par>
                                <p:cTn id="21" presetID="22" presetClass="entr" presetSubtype="1" fill="hold" nodeType="afterEffect">
                                  <p:stCondLst>
                                    <p:cond delay="300"/>
                                  </p:stCondLst>
                                  <p:childTnLst>
                                    <p:set>
                                      <p:cBhvr>
                                        <p:cTn id="22" dur="1" fill="hold">
                                          <p:stCondLst>
                                            <p:cond delay="0"/>
                                          </p:stCondLst>
                                        </p:cTn>
                                        <p:tgtEl>
                                          <p:spTgt spid="12"/>
                                        </p:tgtEl>
                                        <p:attrNameLst>
                                          <p:attrName>style.visibility</p:attrName>
                                        </p:attrNameLst>
                                      </p:cBhvr>
                                      <p:to>
                                        <p:strVal val="visible"/>
                                      </p:to>
                                    </p:set>
                                    <p:animEffect transition="in" filter="wipe(up)">
                                      <p:cBhvr>
                                        <p:cTn id="23" dur="300"/>
                                        <p:tgtEl>
                                          <p:spTgt spid="12"/>
                                        </p:tgtEl>
                                      </p:cBhvr>
                                    </p:animEffect>
                                  </p:childTnLst>
                                </p:cTn>
                              </p:par>
                            </p:childTnLst>
                          </p:cTn>
                        </p:par>
                        <p:par>
                          <p:cTn id="24" fill="hold">
                            <p:stCondLst>
                              <p:cond delay="3300"/>
                            </p:stCondLst>
                            <p:childTnLst>
                              <p:par>
                                <p:cTn id="25" presetID="1" presetClass="entr" presetSubtype="0" fill="hold" nodeType="afterEffect">
                                  <p:stCondLst>
                                    <p:cond delay="100"/>
                                  </p:stCondLst>
                                  <p:childTnLst>
                                    <p:set>
                                      <p:cBhvr>
                                        <p:cTn id="2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4"/>
          <p:cNvSpPr txBox="1">
            <a:spLocks/>
          </p:cNvSpPr>
          <p:nvPr/>
        </p:nvSpPr>
        <p:spPr>
          <a:xfrm>
            <a:off x="520701" y="228601"/>
            <a:ext cx="11149013" cy="747897"/>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gradFill>
                  <a:gsLst>
                    <a:gs pos="1250">
                      <a:srgbClr val="1F497D"/>
                    </a:gs>
                    <a:gs pos="100000">
                      <a:srgbClr val="1F497D"/>
                    </a:gs>
                  </a:gsLst>
                  <a:lin ang="5400000" scaled="0"/>
                </a:gradFill>
                <a:latin typeface="Segoe UI Light"/>
              </a:rPr>
              <a:t>Debug any flow if needed</a:t>
            </a:r>
          </a:p>
        </p:txBody>
      </p:sp>
      <p:pic>
        <p:nvPicPr>
          <p:cNvPr id="28" name="Picture 27"/>
          <p:cNvPicPr>
            <a:picLocks noChangeAspect="1"/>
          </p:cNvPicPr>
          <p:nvPr/>
        </p:nvPicPr>
        <p:blipFill>
          <a:blip r:embed="rId3"/>
          <a:stretch>
            <a:fillRect/>
          </a:stretch>
        </p:blipFill>
        <p:spPr>
          <a:xfrm>
            <a:off x="1596911" y="1089672"/>
            <a:ext cx="8998179" cy="5568023"/>
          </a:xfrm>
          <a:prstGeom prst="rect">
            <a:avLst/>
          </a:prstGeom>
        </p:spPr>
      </p:pic>
      <p:sp>
        <p:nvSpPr>
          <p:cNvPr id="29" name="Line Callout 2 (Accent Bar) 4"/>
          <p:cNvSpPr/>
          <p:nvPr/>
        </p:nvSpPr>
        <p:spPr>
          <a:xfrm flipH="1">
            <a:off x="3225398" y="1904670"/>
            <a:ext cx="158725" cy="761802"/>
          </a:xfrm>
          <a:prstGeom prst="accentCallout2">
            <a:avLst>
              <a:gd name="adj1" fmla="val 18750"/>
              <a:gd name="adj2" fmla="val -8333"/>
              <a:gd name="adj3" fmla="val 26370"/>
              <a:gd name="adj4" fmla="val -205352"/>
              <a:gd name="adj5" fmla="val 13698"/>
              <a:gd name="adj6" fmla="val -485523"/>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dirty="0">
              <a:solidFill>
                <a:prstClr val="white"/>
              </a:solidFill>
              <a:latin typeface="Calibri" panose="020F0502020204030204"/>
            </a:endParaRPr>
          </a:p>
        </p:txBody>
      </p:sp>
      <p:sp>
        <p:nvSpPr>
          <p:cNvPr id="30" name="TextBox 29"/>
          <p:cNvSpPr txBox="1"/>
          <p:nvPr/>
        </p:nvSpPr>
        <p:spPr>
          <a:xfrm>
            <a:off x="7079894" y="5444106"/>
            <a:ext cx="2477742" cy="584775"/>
          </a:xfrm>
          <a:prstGeom prst="rect">
            <a:avLst/>
          </a:prstGeom>
          <a:noFill/>
        </p:spPr>
        <p:txBody>
          <a:bodyPr wrap="square" rtlCol="0">
            <a:spAutoFit/>
          </a:bodyPr>
          <a:lstStyle/>
          <a:p>
            <a:pPr defTabSz="914126"/>
            <a:r>
              <a:rPr lang="en-US" sz="1600" dirty="0">
                <a:solidFill>
                  <a:prstClr val="black"/>
                </a:solidFill>
                <a:latin typeface="Segoe UI Light" panose="020B0502040204020203" pitchFamily="34" charset="0"/>
                <a:cs typeface="Segoe UI Light" panose="020B0502040204020203" pitchFamily="34" charset="0"/>
              </a:rPr>
              <a:t>See detailed inputs / outputs for each step</a:t>
            </a:r>
          </a:p>
        </p:txBody>
      </p:sp>
      <p:sp>
        <p:nvSpPr>
          <p:cNvPr id="31" name="Line Callout 2 (Accent Bar) 13"/>
          <p:cNvSpPr/>
          <p:nvPr/>
        </p:nvSpPr>
        <p:spPr>
          <a:xfrm>
            <a:off x="7023087" y="5320846"/>
            <a:ext cx="192220" cy="879776"/>
          </a:xfrm>
          <a:prstGeom prst="accentCallout2">
            <a:avLst>
              <a:gd name="adj1" fmla="val 79661"/>
              <a:gd name="adj2" fmla="val -8817"/>
              <a:gd name="adj3" fmla="val 82284"/>
              <a:gd name="adj4" fmla="val -545901"/>
              <a:gd name="adj5" fmla="val 82917"/>
              <a:gd name="adj6" fmla="val -565874"/>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dirty="0">
              <a:solidFill>
                <a:prstClr val="white"/>
              </a:solidFill>
              <a:latin typeface="Calibri" panose="020F0502020204030204"/>
            </a:endParaRPr>
          </a:p>
        </p:txBody>
      </p:sp>
      <p:sp>
        <p:nvSpPr>
          <p:cNvPr id="44" name="TextBox 43"/>
          <p:cNvSpPr txBox="1"/>
          <p:nvPr/>
        </p:nvSpPr>
        <p:spPr>
          <a:xfrm>
            <a:off x="215028" y="1870425"/>
            <a:ext cx="3169095" cy="584775"/>
          </a:xfrm>
          <a:prstGeom prst="rect">
            <a:avLst/>
          </a:prstGeom>
          <a:noFill/>
        </p:spPr>
        <p:txBody>
          <a:bodyPr wrap="square" rtlCol="0">
            <a:spAutoFit/>
          </a:bodyPr>
          <a:lstStyle/>
          <a:p>
            <a:pPr defTabSz="914126"/>
            <a:r>
              <a:rPr lang="en-US" sz="1600" dirty="0">
                <a:solidFill>
                  <a:prstClr val="black"/>
                </a:solidFill>
                <a:latin typeface="Segoe UI Light" panose="020B0502040204020203" pitchFamily="34" charset="0"/>
                <a:cs typeface="Segoe UI Light" panose="020B0502040204020203" pitchFamily="34" charset="0"/>
              </a:rPr>
              <a:t>Save visual representation as building / creation time</a:t>
            </a:r>
          </a:p>
        </p:txBody>
      </p:sp>
    </p:spTree>
    <p:extLst>
      <p:ext uri="{BB962C8B-B14F-4D97-AF65-F5344CB8AC3E}">
        <p14:creationId xmlns:p14="http://schemas.microsoft.com/office/powerpoint/2010/main" val="1344558041"/>
      </p:ext>
    </p:extLst>
  </p:cSld>
  <p:clrMapOvr>
    <a:masterClrMapping/>
  </p:clrMapOvr>
  <p:transition spd="slow">
    <p:push dir="u"/>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4"/>
          <p:cNvSpPr txBox="1">
            <a:spLocks/>
          </p:cNvSpPr>
          <p:nvPr/>
        </p:nvSpPr>
        <p:spPr>
          <a:xfrm>
            <a:off x="520701" y="228601"/>
            <a:ext cx="11149013" cy="747897"/>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gradFill>
                  <a:gsLst>
                    <a:gs pos="1250">
                      <a:srgbClr val="1F497D"/>
                    </a:gs>
                    <a:gs pos="100000">
                      <a:srgbClr val="1F497D"/>
                    </a:gs>
                  </a:gsLst>
                  <a:lin ang="5400000" scaled="0"/>
                </a:gradFill>
                <a:latin typeface="Segoe UI Light"/>
              </a:rPr>
              <a:t>Consolidated list of all connectors</a:t>
            </a:r>
          </a:p>
        </p:txBody>
      </p:sp>
      <p:pic>
        <p:nvPicPr>
          <p:cNvPr id="8" name="Picture 7"/>
          <p:cNvPicPr>
            <a:picLocks noChangeAspect="1"/>
          </p:cNvPicPr>
          <p:nvPr/>
        </p:nvPicPr>
        <p:blipFill>
          <a:blip r:embed="rId3"/>
          <a:stretch>
            <a:fillRect/>
          </a:stretch>
        </p:blipFill>
        <p:spPr>
          <a:xfrm>
            <a:off x="333517" y="2008786"/>
            <a:ext cx="8205385" cy="4378247"/>
          </a:xfrm>
          <a:prstGeom prst="rect">
            <a:avLst/>
          </a:prstGeom>
        </p:spPr>
      </p:pic>
      <p:sp>
        <p:nvSpPr>
          <p:cNvPr id="9" name="Rectangle 8"/>
          <p:cNvSpPr/>
          <p:nvPr/>
        </p:nvSpPr>
        <p:spPr>
          <a:xfrm flipH="1">
            <a:off x="9052053" y="1120025"/>
            <a:ext cx="2782852" cy="1076937"/>
          </a:xfrm>
          <a:prstGeom prst="rect">
            <a:avLst/>
          </a:prstGeom>
        </p:spPr>
        <p:txBody>
          <a:bodyPr wrap="square">
            <a:spAutoFit/>
          </a:bodyPr>
          <a:lstStyle/>
          <a:p>
            <a:pPr defTabSz="914126"/>
            <a:r>
              <a:rPr lang="en-US" sz="1600" dirty="0">
                <a:solidFill>
                  <a:prstClr val="black">
                    <a:lumMod val="85000"/>
                    <a:lumOff val="15000"/>
                  </a:prstClr>
                </a:solidFill>
                <a:latin typeface="Segoe UI Light" panose="020B0502040204020203" pitchFamily="34" charset="0"/>
                <a:cs typeface="Segoe UI Light" panose="020B0502040204020203" pitchFamily="34" charset="0"/>
              </a:rPr>
              <a:t>Same list of connections is shared between </a:t>
            </a:r>
            <a:r>
              <a:rPr lang="en-US" sz="1600" dirty="0" err="1">
                <a:solidFill>
                  <a:prstClr val="black">
                    <a:lumMod val="85000"/>
                    <a:lumOff val="15000"/>
                  </a:prstClr>
                </a:solidFill>
                <a:latin typeface="Segoe UI Light" panose="020B0502040204020203" pitchFamily="34" charset="0"/>
                <a:cs typeface="Segoe UI Light" panose="020B0502040204020203" pitchFamily="34" charset="0"/>
              </a:rPr>
              <a:t>PowerApps</a:t>
            </a:r>
            <a:r>
              <a:rPr lang="en-US" sz="1600" dirty="0">
                <a:solidFill>
                  <a:prstClr val="black">
                    <a:lumMod val="85000"/>
                    <a:lumOff val="15000"/>
                  </a:prstClr>
                </a:solidFill>
                <a:latin typeface="Segoe UI Light" panose="020B0502040204020203" pitchFamily="34" charset="0"/>
                <a:cs typeface="Segoe UI Light" panose="020B0502040204020203" pitchFamily="34" charset="0"/>
              </a:rPr>
              <a:t> and Flow so you only have to sign in once</a:t>
            </a:r>
          </a:p>
        </p:txBody>
      </p:sp>
      <p:sp>
        <p:nvSpPr>
          <p:cNvPr id="10" name="Line Callout 2 (Accent Bar) 6"/>
          <p:cNvSpPr/>
          <p:nvPr/>
        </p:nvSpPr>
        <p:spPr>
          <a:xfrm>
            <a:off x="9052052" y="1242778"/>
            <a:ext cx="192220" cy="879776"/>
          </a:xfrm>
          <a:prstGeom prst="accentCallout2">
            <a:avLst>
              <a:gd name="adj1" fmla="val 46262"/>
              <a:gd name="adj2" fmla="val -8817"/>
              <a:gd name="adj3" fmla="val 52596"/>
              <a:gd name="adj4" fmla="val -427006"/>
              <a:gd name="adj5" fmla="val 94051"/>
              <a:gd name="adj6" fmla="val -948038"/>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dirty="0">
              <a:solidFill>
                <a:prstClr val="white"/>
              </a:solidFill>
              <a:latin typeface="Calibri" panose="020F0502020204030204"/>
            </a:endParaRPr>
          </a:p>
        </p:txBody>
      </p:sp>
      <p:sp>
        <p:nvSpPr>
          <p:cNvPr id="11" name="Rectangle 10"/>
          <p:cNvSpPr/>
          <p:nvPr/>
        </p:nvSpPr>
        <p:spPr>
          <a:xfrm flipH="1">
            <a:off x="8676593" y="4188996"/>
            <a:ext cx="2782852" cy="1076937"/>
          </a:xfrm>
          <a:prstGeom prst="rect">
            <a:avLst/>
          </a:prstGeom>
        </p:spPr>
        <p:txBody>
          <a:bodyPr wrap="square">
            <a:spAutoFit/>
          </a:bodyPr>
          <a:lstStyle/>
          <a:p>
            <a:pPr defTabSz="914126"/>
            <a:r>
              <a:rPr lang="en-US" sz="1600" dirty="0">
                <a:solidFill>
                  <a:prstClr val="black">
                    <a:lumMod val="85000"/>
                    <a:lumOff val="15000"/>
                  </a:prstClr>
                </a:solidFill>
                <a:latin typeface="Segoe UI Light" panose="020B0502040204020203" pitchFamily="34" charset="0"/>
                <a:cs typeface="Segoe UI Light" panose="020B0502040204020203" pitchFamily="34" charset="0"/>
              </a:rPr>
              <a:t>If your password changes or you revoke the application access you can come here to sign-in again and fix it</a:t>
            </a:r>
          </a:p>
        </p:txBody>
      </p:sp>
      <p:sp>
        <p:nvSpPr>
          <p:cNvPr id="12" name="Line Callout 2 (Accent Bar) 8"/>
          <p:cNvSpPr/>
          <p:nvPr/>
        </p:nvSpPr>
        <p:spPr>
          <a:xfrm>
            <a:off x="8676593" y="4311749"/>
            <a:ext cx="192220" cy="879776"/>
          </a:xfrm>
          <a:prstGeom prst="accentCallout2">
            <a:avLst>
              <a:gd name="adj1" fmla="val 46262"/>
              <a:gd name="adj2" fmla="val -8817"/>
              <a:gd name="adj3" fmla="val 54451"/>
              <a:gd name="adj4" fmla="val -936557"/>
              <a:gd name="adj5" fmla="val 73640"/>
              <a:gd name="adj6" fmla="val -1338694"/>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dirty="0">
              <a:solidFill>
                <a:prstClr val="white"/>
              </a:solidFill>
              <a:latin typeface="Calibri" panose="020F0502020204030204"/>
            </a:endParaRPr>
          </a:p>
        </p:txBody>
      </p:sp>
      <p:sp>
        <p:nvSpPr>
          <p:cNvPr id="13" name="Rectangle 12"/>
          <p:cNvSpPr/>
          <p:nvPr/>
        </p:nvSpPr>
        <p:spPr>
          <a:xfrm flipH="1">
            <a:off x="9052053" y="5598328"/>
            <a:ext cx="2782852" cy="1076937"/>
          </a:xfrm>
          <a:prstGeom prst="rect">
            <a:avLst/>
          </a:prstGeom>
        </p:spPr>
        <p:txBody>
          <a:bodyPr wrap="square">
            <a:spAutoFit/>
          </a:bodyPr>
          <a:lstStyle/>
          <a:p>
            <a:pPr defTabSz="914126"/>
            <a:r>
              <a:rPr lang="en-US" sz="1600" dirty="0">
                <a:solidFill>
                  <a:prstClr val="black">
                    <a:lumMod val="85000"/>
                    <a:lumOff val="15000"/>
                  </a:prstClr>
                </a:solidFill>
                <a:latin typeface="Segoe UI Light" panose="020B0502040204020203" pitchFamily="34" charset="0"/>
                <a:cs typeface="Segoe UI Light" panose="020B0502040204020203" pitchFamily="34" charset="0"/>
              </a:rPr>
              <a:t>Delete connections if you no longer want Flow and </a:t>
            </a:r>
            <a:r>
              <a:rPr lang="en-US" sz="1600" dirty="0" err="1">
                <a:solidFill>
                  <a:prstClr val="black">
                    <a:lumMod val="85000"/>
                    <a:lumOff val="15000"/>
                  </a:prstClr>
                </a:solidFill>
                <a:latin typeface="Segoe UI Light" panose="020B0502040204020203" pitchFamily="34" charset="0"/>
                <a:cs typeface="Segoe UI Light" panose="020B0502040204020203" pitchFamily="34" charset="0"/>
              </a:rPr>
              <a:t>PowerApps</a:t>
            </a:r>
            <a:r>
              <a:rPr lang="en-US" sz="1600" dirty="0">
                <a:solidFill>
                  <a:prstClr val="black">
                    <a:lumMod val="85000"/>
                    <a:lumOff val="15000"/>
                  </a:prstClr>
                </a:solidFill>
                <a:latin typeface="Segoe UI Light" panose="020B0502040204020203" pitchFamily="34" charset="0"/>
                <a:cs typeface="Segoe UI Light" panose="020B0502040204020203" pitchFamily="34" charset="0"/>
              </a:rPr>
              <a:t> to be able to access that data</a:t>
            </a:r>
          </a:p>
        </p:txBody>
      </p:sp>
      <p:sp>
        <p:nvSpPr>
          <p:cNvPr id="14" name="Line Callout 2 (Accent Bar) 10"/>
          <p:cNvSpPr/>
          <p:nvPr/>
        </p:nvSpPr>
        <p:spPr>
          <a:xfrm>
            <a:off x="9052052" y="5721081"/>
            <a:ext cx="192220" cy="879776"/>
          </a:xfrm>
          <a:prstGeom prst="accentCallout2">
            <a:avLst>
              <a:gd name="adj1" fmla="val 81517"/>
              <a:gd name="adj2" fmla="val -17309"/>
              <a:gd name="adj3" fmla="val 82284"/>
              <a:gd name="adj4" fmla="val -410020"/>
              <a:gd name="adj5" fmla="val 62507"/>
              <a:gd name="adj6" fmla="val -608337"/>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dirty="0">
              <a:solidFill>
                <a:prstClr val="white"/>
              </a:solidFill>
              <a:latin typeface="Calibri" panose="020F0502020204030204"/>
            </a:endParaRPr>
          </a:p>
        </p:txBody>
      </p:sp>
    </p:spTree>
    <p:extLst>
      <p:ext uri="{BB962C8B-B14F-4D97-AF65-F5344CB8AC3E}">
        <p14:creationId xmlns:p14="http://schemas.microsoft.com/office/powerpoint/2010/main" val="1014977501"/>
      </p:ext>
    </p:extLst>
  </p:cSld>
  <p:clrMapOvr>
    <a:masterClrMapping/>
  </p:clrMapOvr>
  <p:transition spd="slow">
    <p:push dir="u"/>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4"/>
          <p:cNvSpPr txBox="1">
            <a:spLocks/>
          </p:cNvSpPr>
          <p:nvPr/>
        </p:nvSpPr>
        <p:spPr>
          <a:xfrm>
            <a:off x="520701" y="228601"/>
            <a:ext cx="11149013" cy="747897"/>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gradFill>
                  <a:gsLst>
                    <a:gs pos="1250">
                      <a:srgbClr val="1F497D"/>
                    </a:gs>
                    <a:gs pos="100000">
                      <a:srgbClr val="1F497D"/>
                    </a:gs>
                  </a:gsLst>
                  <a:lin ang="5400000" scaled="0"/>
                </a:gradFill>
                <a:latin typeface="Segoe UI Light"/>
              </a:rPr>
              <a:t>Why are we talking about Flow?</a:t>
            </a:r>
          </a:p>
        </p:txBody>
      </p:sp>
      <p:sp>
        <p:nvSpPr>
          <p:cNvPr id="15" name="Content Placeholder 2"/>
          <p:cNvSpPr txBox="1">
            <a:spLocks/>
          </p:cNvSpPr>
          <p:nvPr/>
        </p:nvSpPr>
        <p:spPr>
          <a:xfrm>
            <a:off x="839570" y="1826043"/>
            <a:ext cx="8220532" cy="4350205"/>
          </a:xfrm>
          <a:prstGeom prst="rect">
            <a:avLst/>
          </a:prstGeom>
        </p:spPr>
        <p:txBody>
          <a:bodyPr>
            <a:normAutofit fontScale="92500" lnSpcReduction="20000"/>
          </a:bodyPr>
          <a:lstStyle>
            <a:lvl1pPr marL="336044" marR="0" indent="-336044" algn="l" defTabSz="914093"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a:gradFill>
                  <a:gsLst>
                    <a:gs pos="1250">
                      <a:srgbClr val="505050"/>
                    </a:gs>
                    <a:gs pos="100000">
                      <a:srgbClr val="505050"/>
                    </a:gs>
                  </a:gsLst>
                  <a:lin ang="5400000" scaled="0"/>
                </a:gradFill>
                <a:latin typeface="Segoe UI Light"/>
              </a:rPr>
              <a:t>Integration is a problem that spans the enterprise </a:t>
            </a:r>
          </a:p>
          <a:p>
            <a:endParaRPr lang="en-US">
              <a:gradFill>
                <a:gsLst>
                  <a:gs pos="1250">
                    <a:srgbClr val="505050"/>
                  </a:gs>
                  <a:gs pos="100000">
                    <a:srgbClr val="505050"/>
                  </a:gs>
                </a:gsLst>
                <a:lin ang="5400000" scaled="0"/>
              </a:gradFill>
              <a:latin typeface="Segoe UI Light"/>
            </a:endParaRPr>
          </a:p>
          <a:p>
            <a:r>
              <a:rPr lang="en-US">
                <a:gradFill>
                  <a:gsLst>
                    <a:gs pos="1250">
                      <a:srgbClr val="505050"/>
                    </a:gs>
                    <a:gs pos="100000">
                      <a:srgbClr val="505050"/>
                    </a:gs>
                  </a:gsLst>
                  <a:lin ang="5400000" scaled="0"/>
                </a:gradFill>
                <a:latin typeface="Segoe UI Light"/>
              </a:rPr>
              <a:t>Limited resources / time for central Integration specialists; unmet need for office workers </a:t>
            </a:r>
          </a:p>
          <a:p>
            <a:endParaRPr lang="en-US">
              <a:gradFill>
                <a:gsLst>
                  <a:gs pos="1250">
                    <a:srgbClr val="505050"/>
                  </a:gs>
                  <a:gs pos="100000">
                    <a:srgbClr val="505050"/>
                  </a:gs>
                </a:gsLst>
                <a:lin ang="5400000" scaled="0"/>
              </a:gradFill>
              <a:latin typeface="Segoe UI Light"/>
            </a:endParaRPr>
          </a:p>
          <a:p>
            <a:r>
              <a:rPr lang="en-US">
                <a:gradFill>
                  <a:gsLst>
                    <a:gs pos="1250">
                      <a:srgbClr val="505050"/>
                    </a:gs>
                    <a:gs pos="100000">
                      <a:srgbClr val="505050"/>
                    </a:gs>
                  </a:gsLst>
                  <a:lin ang="5400000" scaled="0"/>
                </a:gradFill>
                <a:latin typeface="Segoe UI Light"/>
              </a:rPr>
              <a:t>Flow enables “self-service” for simple integrations</a:t>
            </a:r>
            <a:endParaRPr lang="en-US" dirty="0">
              <a:gradFill>
                <a:gsLst>
                  <a:gs pos="1250">
                    <a:srgbClr val="505050"/>
                  </a:gs>
                  <a:gs pos="100000">
                    <a:srgbClr val="505050"/>
                  </a:gs>
                </a:gsLst>
                <a:lin ang="5400000" scaled="0"/>
              </a:gradFill>
              <a:latin typeface="Segoe UI Light"/>
            </a:endParaRPr>
          </a:p>
        </p:txBody>
      </p:sp>
      <p:grpSp>
        <p:nvGrpSpPr>
          <p:cNvPr id="16" name="Group 15"/>
          <p:cNvGrpSpPr/>
          <p:nvPr/>
        </p:nvGrpSpPr>
        <p:grpSpPr>
          <a:xfrm>
            <a:off x="9503111" y="1447014"/>
            <a:ext cx="2480935" cy="5028647"/>
            <a:chOff x="9503997" y="788951"/>
            <a:chExt cx="2481581" cy="5029957"/>
          </a:xfrm>
        </p:grpSpPr>
        <p:pic>
          <p:nvPicPr>
            <p:cNvPr id="17" name="Picture 16"/>
            <p:cNvPicPr>
              <a:picLocks noChangeAspect="1"/>
            </p:cNvPicPr>
            <p:nvPr/>
          </p:nvPicPr>
          <p:blipFill>
            <a:blip r:embed="rId3"/>
            <a:stretch>
              <a:fillRect/>
            </a:stretch>
          </p:blipFill>
          <p:spPr>
            <a:xfrm>
              <a:off x="9992238" y="788951"/>
              <a:ext cx="1563333" cy="1510145"/>
            </a:xfrm>
            <a:prstGeom prst="rect">
              <a:avLst/>
            </a:prstGeom>
          </p:spPr>
        </p:pic>
        <p:pic>
          <p:nvPicPr>
            <p:cNvPr id="18" name="Picture 17"/>
            <p:cNvPicPr>
              <a:picLocks noChangeAspect="1"/>
            </p:cNvPicPr>
            <p:nvPr/>
          </p:nvPicPr>
          <p:blipFill>
            <a:blip r:embed="rId4"/>
            <a:stretch>
              <a:fillRect/>
            </a:stretch>
          </p:blipFill>
          <p:spPr>
            <a:xfrm>
              <a:off x="10103074" y="2671709"/>
              <a:ext cx="1305502" cy="1305502"/>
            </a:xfrm>
            <a:prstGeom prst="rect">
              <a:avLst/>
            </a:prstGeom>
          </p:spPr>
        </p:pic>
        <p:pic>
          <p:nvPicPr>
            <p:cNvPr id="19" name="Picture 18"/>
            <p:cNvPicPr>
              <a:picLocks noChangeAspect="1"/>
            </p:cNvPicPr>
            <p:nvPr/>
          </p:nvPicPr>
          <p:blipFill>
            <a:blip r:embed="rId5"/>
            <a:stretch>
              <a:fillRect/>
            </a:stretch>
          </p:blipFill>
          <p:spPr>
            <a:xfrm>
              <a:off x="9503997" y="4516078"/>
              <a:ext cx="2481581" cy="1302830"/>
            </a:xfrm>
            <a:prstGeom prst="rect">
              <a:avLst/>
            </a:prstGeom>
          </p:spPr>
        </p:pic>
      </p:grpSp>
    </p:spTree>
    <p:extLst>
      <p:ext uri="{BB962C8B-B14F-4D97-AF65-F5344CB8AC3E}">
        <p14:creationId xmlns:p14="http://schemas.microsoft.com/office/powerpoint/2010/main" val="44849469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750"/>
                                        <p:tgtEl>
                                          <p:spTgt spid="16"/>
                                        </p:tgtEl>
                                      </p:cBhvr>
                                    </p:animEffect>
                                  </p:childTnLst>
                                </p:cTn>
                              </p:par>
                              <p:par>
                                <p:cTn id="8" presetID="12" presetClass="entr" presetSubtype="2"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 calcmode="lin" valueType="num">
                                      <p:cBhvr additive="base">
                                        <p:cTn id="10" dur="500"/>
                                        <p:tgtEl>
                                          <p:spTgt spid="16"/>
                                        </p:tgtEl>
                                        <p:attrNameLst>
                                          <p:attrName>ppt_x</p:attrName>
                                        </p:attrNameLst>
                                      </p:cBhvr>
                                      <p:tavLst>
                                        <p:tav tm="0">
                                          <p:val>
                                            <p:strVal val="#ppt_x+#ppt_w*1.125000"/>
                                          </p:val>
                                        </p:tav>
                                        <p:tav tm="100000">
                                          <p:val>
                                            <p:strVal val="#ppt_x"/>
                                          </p:val>
                                        </p:tav>
                                      </p:tavLst>
                                    </p:anim>
                                    <p:animEffect transition="in" filter="wipe(left)">
                                      <p:cBhvr>
                                        <p:cTn id="11"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4"/>
          <p:cNvSpPr txBox="1">
            <a:spLocks/>
          </p:cNvSpPr>
          <p:nvPr/>
        </p:nvSpPr>
        <p:spPr>
          <a:xfrm>
            <a:off x="520701" y="228601"/>
            <a:ext cx="11149013" cy="747897"/>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gradFill>
                  <a:gsLst>
                    <a:gs pos="1250">
                      <a:srgbClr val="1F497D"/>
                    </a:gs>
                    <a:gs pos="100000">
                      <a:srgbClr val="1F497D"/>
                    </a:gs>
                  </a:gsLst>
                  <a:lin ang="5400000" scaled="0"/>
                </a:gradFill>
                <a:latin typeface="Segoe UI Light"/>
              </a:rPr>
              <a:t>…not to mention</a:t>
            </a:r>
          </a:p>
        </p:txBody>
      </p:sp>
      <p:grpSp>
        <p:nvGrpSpPr>
          <p:cNvPr id="16" name="Group 15"/>
          <p:cNvGrpSpPr/>
          <p:nvPr/>
        </p:nvGrpSpPr>
        <p:grpSpPr>
          <a:xfrm>
            <a:off x="9503111" y="1447014"/>
            <a:ext cx="2480935" cy="5028647"/>
            <a:chOff x="9503997" y="788951"/>
            <a:chExt cx="2481581" cy="5029957"/>
          </a:xfrm>
        </p:grpSpPr>
        <p:pic>
          <p:nvPicPr>
            <p:cNvPr id="17" name="Picture 16"/>
            <p:cNvPicPr>
              <a:picLocks noChangeAspect="1"/>
            </p:cNvPicPr>
            <p:nvPr/>
          </p:nvPicPr>
          <p:blipFill>
            <a:blip r:embed="rId3"/>
            <a:stretch>
              <a:fillRect/>
            </a:stretch>
          </p:blipFill>
          <p:spPr>
            <a:xfrm>
              <a:off x="9992238" y="788951"/>
              <a:ext cx="1563333" cy="1510145"/>
            </a:xfrm>
            <a:prstGeom prst="rect">
              <a:avLst/>
            </a:prstGeom>
          </p:spPr>
        </p:pic>
        <p:pic>
          <p:nvPicPr>
            <p:cNvPr id="18" name="Picture 17"/>
            <p:cNvPicPr>
              <a:picLocks noChangeAspect="1"/>
            </p:cNvPicPr>
            <p:nvPr/>
          </p:nvPicPr>
          <p:blipFill>
            <a:blip r:embed="rId4"/>
            <a:stretch>
              <a:fillRect/>
            </a:stretch>
          </p:blipFill>
          <p:spPr>
            <a:xfrm>
              <a:off x="10103074" y="2671709"/>
              <a:ext cx="1305502" cy="1305502"/>
            </a:xfrm>
            <a:prstGeom prst="rect">
              <a:avLst/>
            </a:prstGeom>
          </p:spPr>
        </p:pic>
        <p:pic>
          <p:nvPicPr>
            <p:cNvPr id="19" name="Picture 18"/>
            <p:cNvPicPr>
              <a:picLocks noChangeAspect="1"/>
            </p:cNvPicPr>
            <p:nvPr/>
          </p:nvPicPr>
          <p:blipFill>
            <a:blip r:embed="rId5"/>
            <a:stretch>
              <a:fillRect/>
            </a:stretch>
          </p:blipFill>
          <p:spPr>
            <a:xfrm>
              <a:off x="9503997" y="4516078"/>
              <a:ext cx="2481581" cy="1302830"/>
            </a:xfrm>
            <a:prstGeom prst="rect">
              <a:avLst/>
            </a:prstGeom>
          </p:spPr>
        </p:pic>
      </p:grpSp>
      <p:sp>
        <p:nvSpPr>
          <p:cNvPr id="8" name="Content Placeholder 2"/>
          <p:cNvSpPr txBox="1">
            <a:spLocks/>
          </p:cNvSpPr>
          <p:nvPr/>
        </p:nvSpPr>
        <p:spPr>
          <a:xfrm>
            <a:off x="839570" y="1826043"/>
            <a:ext cx="8220532" cy="4350205"/>
          </a:xfrm>
          <a:prstGeom prst="rect">
            <a:avLst/>
          </a:prstGeom>
        </p:spPr>
        <p:txBody>
          <a:bodyPr>
            <a:normAutofit fontScale="85000" lnSpcReduction="20000"/>
          </a:bodyPr>
          <a:lstStyle>
            <a:lvl1pPr marL="336044" marR="0" indent="-336044" algn="l" defTabSz="914093"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dirty="0">
                <a:gradFill>
                  <a:gsLst>
                    <a:gs pos="1250">
                      <a:srgbClr val="505050"/>
                    </a:gs>
                    <a:gs pos="100000">
                      <a:srgbClr val="505050"/>
                    </a:gs>
                  </a:gsLst>
                  <a:lin ang="5400000" scaled="0"/>
                </a:gradFill>
                <a:latin typeface="Segoe UI Light"/>
              </a:rPr>
              <a:t>Another tool in our integration strategy (in addition to BizTalk, Logic Apps, API-</a:t>
            </a:r>
            <a:r>
              <a:rPr lang="en-US" dirty="0" err="1">
                <a:gradFill>
                  <a:gsLst>
                    <a:gs pos="1250">
                      <a:srgbClr val="505050"/>
                    </a:gs>
                    <a:gs pos="100000">
                      <a:srgbClr val="505050"/>
                    </a:gs>
                  </a:gsLst>
                  <a:lin ang="5400000" scaled="0"/>
                </a:gradFill>
                <a:latin typeface="Segoe UI Light"/>
              </a:rPr>
              <a:t>Mgmt</a:t>
            </a:r>
            <a:r>
              <a:rPr lang="en-US" dirty="0">
                <a:gradFill>
                  <a:gsLst>
                    <a:gs pos="1250">
                      <a:srgbClr val="505050"/>
                    </a:gs>
                    <a:gs pos="100000">
                      <a:srgbClr val="505050"/>
                    </a:gs>
                  </a:gsLst>
                  <a:lin ang="5400000" scaled="0"/>
                </a:gradFill>
                <a:latin typeface="Segoe UI Light"/>
              </a:rPr>
              <a:t>, etc.)</a:t>
            </a:r>
          </a:p>
          <a:p>
            <a:endParaRPr lang="en-US" dirty="0">
              <a:gradFill>
                <a:gsLst>
                  <a:gs pos="1250">
                    <a:srgbClr val="505050"/>
                  </a:gs>
                  <a:gs pos="100000">
                    <a:srgbClr val="505050"/>
                  </a:gs>
                </a:gsLst>
                <a:lin ang="5400000" scaled="0"/>
              </a:gradFill>
              <a:latin typeface="Segoe UI Light"/>
            </a:endParaRPr>
          </a:p>
          <a:p>
            <a:r>
              <a:rPr lang="en-US" dirty="0">
                <a:gradFill>
                  <a:gsLst>
                    <a:gs pos="1250">
                      <a:srgbClr val="505050"/>
                    </a:gs>
                    <a:gs pos="100000">
                      <a:srgbClr val="505050"/>
                    </a:gs>
                  </a:gsLst>
                  <a:lin ang="5400000" scaled="0"/>
                </a:gradFill>
                <a:latin typeface="Segoe UI Light"/>
              </a:rPr>
              <a:t>Assets are transferable: same APIs / connectors from Logic Apps + BizTalk can be used in Flow</a:t>
            </a:r>
          </a:p>
          <a:p>
            <a:endParaRPr lang="en-US" dirty="0">
              <a:gradFill>
                <a:gsLst>
                  <a:gs pos="1250">
                    <a:srgbClr val="505050"/>
                  </a:gs>
                  <a:gs pos="100000">
                    <a:srgbClr val="505050"/>
                  </a:gs>
                </a:gsLst>
                <a:lin ang="5400000" scaled="0"/>
              </a:gradFill>
              <a:latin typeface="Segoe UI Light"/>
            </a:endParaRPr>
          </a:p>
          <a:p>
            <a:r>
              <a:rPr lang="en-US" dirty="0">
                <a:gradFill>
                  <a:gsLst>
                    <a:gs pos="1250">
                      <a:srgbClr val="505050"/>
                    </a:gs>
                    <a:gs pos="100000">
                      <a:srgbClr val="505050"/>
                    </a:gs>
                  </a:gsLst>
                  <a:lin ang="5400000" scaled="0"/>
                </a:gradFill>
                <a:latin typeface="Segoe UI Light"/>
              </a:rPr>
              <a:t>Bigger role for Integration inside of companies / organizations</a:t>
            </a:r>
          </a:p>
        </p:txBody>
      </p:sp>
    </p:spTree>
    <p:extLst>
      <p:ext uri="{BB962C8B-B14F-4D97-AF65-F5344CB8AC3E}">
        <p14:creationId xmlns:p14="http://schemas.microsoft.com/office/powerpoint/2010/main" val="167456031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750"/>
                                        <p:tgtEl>
                                          <p:spTgt spid="16"/>
                                        </p:tgtEl>
                                      </p:cBhvr>
                                    </p:animEffect>
                                  </p:childTnLst>
                                </p:cTn>
                              </p:par>
                              <p:par>
                                <p:cTn id="8" presetID="12" presetClass="entr" presetSubtype="2"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 calcmode="lin" valueType="num">
                                      <p:cBhvr additive="base">
                                        <p:cTn id="10" dur="500"/>
                                        <p:tgtEl>
                                          <p:spTgt spid="16"/>
                                        </p:tgtEl>
                                        <p:attrNameLst>
                                          <p:attrName>ppt_x</p:attrName>
                                        </p:attrNameLst>
                                      </p:cBhvr>
                                      <p:tavLst>
                                        <p:tav tm="0">
                                          <p:val>
                                            <p:strVal val="#ppt_x+#ppt_w*1.125000"/>
                                          </p:val>
                                        </p:tav>
                                        <p:tav tm="100000">
                                          <p:val>
                                            <p:strVal val="#ppt_x"/>
                                          </p:val>
                                        </p:tav>
                                      </p:tavLst>
                                    </p:anim>
                                    <p:animEffect transition="in" filter="wipe(left)">
                                      <p:cBhvr>
                                        <p:cTn id="11"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7055053" y="-3725941"/>
            <a:ext cx="11162248" cy="10613907"/>
            <a:chOff x="3765169" y="-5570538"/>
            <a:chExt cx="12663868" cy="11919179"/>
          </a:xfrm>
        </p:grpSpPr>
        <p:sp>
          <p:nvSpPr>
            <p:cNvPr id="18" name="Title 2"/>
            <p:cNvSpPr txBox="1">
              <a:spLocks/>
            </p:cNvSpPr>
            <p:nvPr/>
          </p:nvSpPr>
          <p:spPr>
            <a:xfrm>
              <a:off x="6967621" y="5830886"/>
              <a:ext cx="2044615" cy="517755"/>
            </a:xfrm>
            <a:prstGeom prst="rect">
              <a:avLst/>
            </a:prstGeom>
          </p:spPr>
          <p:txBody>
            <a:bodyPr vert="horz" wrap="square" lIns="146266" tIns="91416" rIns="146266" bIns="91416"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defTabSz="932462">
                <a:defRPr/>
              </a:pPr>
              <a:r>
                <a:rPr lang="en-US" sz="1799" b="1" dirty="0">
                  <a:gradFill>
                    <a:gsLst>
                      <a:gs pos="1250">
                        <a:srgbClr val="505050"/>
                      </a:gs>
                      <a:gs pos="100000">
                        <a:srgbClr val="505050"/>
                      </a:gs>
                    </a:gsLst>
                    <a:lin ang="5400000" scaled="0"/>
                  </a:gradFill>
                  <a:latin typeface="Segoe UI Light"/>
                  <a:ea typeface=""/>
                  <a:cs typeface="Segoe UI Semilight" panose="020B0402040204020203" pitchFamily="34" charset="0"/>
                </a:rPr>
                <a:t>Sophistication</a:t>
              </a:r>
            </a:p>
          </p:txBody>
        </p:sp>
        <p:grpSp>
          <p:nvGrpSpPr>
            <p:cNvPr id="19" name="Group 18"/>
            <p:cNvGrpSpPr/>
            <p:nvPr/>
          </p:nvGrpSpPr>
          <p:grpSpPr>
            <a:xfrm>
              <a:off x="3765169" y="-5570538"/>
              <a:ext cx="12663868" cy="11398495"/>
              <a:chOff x="3765169" y="-5570538"/>
              <a:chExt cx="12663868" cy="11398495"/>
            </a:xfrm>
          </p:grpSpPr>
          <p:sp>
            <p:nvSpPr>
              <p:cNvPr id="20" name="Rectangle 19"/>
              <p:cNvSpPr/>
              <p:nvPr/>
            </p:nvSpPr>
            <p:spPr bwMode="auto">
              <a:xfrm rot="10800000">
                <a:off x="6967621" y="2217348"/>
                <a:ext cx="1841415" cy="3571668"/>
              </a:xfrm>
              <a:prstGeom prst="rect">
                <a:avLst/>
              </a:prstGeom>
              <a:gradFill>
                <a:gsLst>
                  <a:gs pos="10000">
                    <a:srgbClr val="FFFFFF"/>
                  </a:gs>
                  <a:gs pos="100000">
                    <a:srgbClr val="00BCF2">
                      <a:lumMod val="40000"/>
                      <a:lumOff val="60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Rectangle 20"/>
              <p:cNvSpPr/>
              <p:nvPr/>
            </p:nvSpPr>
            <p:spPr bwMode="auto">
              <a:xfrm>
                <a:off x="4276102" y="2180197"/>
                <a:ext cx="876363" cy="3571668"/>
              </a:xfrm>
              <a:prstGeom prst="rect">
                <a:avLst/>
              </a:prstGeom>
              <a:gradFill>
                <a:gsLst>
                  <a:gs pos="10000">
                    <a:srgbClr val="FFFFFF"/>
                  </a:gs>
                  <a:gs pos="100000">
                    <a:srgbClr val="00BCF2">
                      <a:lumMod val="40000"/>
                      <a:lumOff val="60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Rectangle 21"/>
              <p:cNvSpPr/>
              <p:nvPr/>
            </p:nvSpPr>
            <p:spPr bwMode="auto">
              <a:xfrm>
                <a:off x="5053855" y="2179603"/>
                <a:ext cx="2041108" cy="3603908"/>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Up Arrow 22"/>
              <p:cNvSpPr/>
              <p:nvPr/>
            </p:nvSpPr>
            <p:spPr bwMode="auto">
              <a:xfrm>
                <a:off x="4164541" y="1905001"/>
                <a:ext cx="111618" cy="3886200"/>
              </a:xfrm>
              <a:prstGeom prst="upArrow">
                <a:avLst>
                  <a:gd name="adj1" fmla="val 32932"/>
                  <a:gd name="adj2" fmla="val 77023"/>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Title 2"/>
              <p:cNvSpPr txBox="1">
                <a:spLocks/>
              </p:cNvSpPr>
              <p:nvPr/>
            </p:nvSpPr>
            <p:spPr>
              <a:xfrm rot="16200000">
                <a:off x="3435932" y="2143803"/>
                <a:ext cx="1268074" cy="609600"/>
              </a:xfrm>
              <a:prstGeom prst="rect">
                <a:avLst/>
              </a:prstGeom>
            </p:spPr>
            <p:txBody>
              <a:bodyPr vert="horz" wrap="square" lIns="146266" tIns="91416" rIns="146266" bIns="91416"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462">
                  <a:defRPr/>
                </a:pPr>
                <a:r>
                  <a:rPr lang="en-US" sz="1799" b="1" dirty="0">
                    <a:gradFill>
                      <a:gsLst>
                        <a:gs pos="1250">
                          <a:srgbClr val="505050"/>
                        </a:gs>
                        <a:gs pos="100000">
                          <a:srgbClr val="505050"/>
                        </a:gs>
                      </a:gsLst>
                      <a:lin ang="5400000" scaled="0"/>
                    </a:gradFill>
                    <a:latin typeface="Segoe UI Light"/>
                    <a:ea typeface=""/>
                    <a:cs typeface="Segoe UI Semilight" panose="020B0402040204020203" pitchFamily="34" charset="0"/>
                  </a:rPr>
                  <a:t>Volume</a:t>
                </a:r>
              </a:p>
            </p:txBody>
          </p:sp>
          <p:sp>
            <p:nvSpPr>
              <p:cNvPr id="25" name="Arc 24"/>
              <p:cNvSpPr/>
              <p:nvPr/>
            </p:nvSpPr>
            <p:spPr>
              <a:xfrm rot="10800000">
                <a:off x="3856037" y="-5570538"/>
                <a:ext cx="12573000" cy="11210190"/>
              </a:xfrm>
              <a:prstGeom prst="arc">
                <a:avLst>
                  <a:gd name="adj1" fmla="val 16996877"/>
                  <a:gd name="adj2" fmla="val 20391958"/>
                </a:avLst>
              </a:prstGeom>
              <a:solidFill>
                <a:srgbClr val="FFFFFF"/>
              </a:solidFill>
              <a:ln w="38100" cap="flat" cmpd="sng" algn="ctr">
                <a:solidFill>
                  <a:srgbClr val="00BCF2"/>
                </a:solidFill>
                <a:prstDash val="solid"/>
                <a:headEnd type="none"/>
                <a:tailEnd type="none"/>
              </a:ln>
              <a:effectLst/>
            </p:spPr>
            <p:txBody>
              <a:bodyPr rtlCol="0" anchor="ctr"/>
              <a:lstStyle/>
              <a:p>
                <a:pPr algn="ctr" defTabSz="932462">
                  <a:defRPr/>
                </a:pPr>
                <a:endParaRPr lang="en-US" sz="1600" kern="0" dirty="0">
                  <a:solidFill>
                    <a:srgbClr val="505050"/>
                  </a:solidFill>
                  <a:latin typeface="Segoe UI"/>
                  <a:ea typeface=""/>
                  <a:cs typeface=""/>
                </a:endParaRPr>
              </a:p>
            </p:txBody>
          </p:sp>
          <p:sp>
            <p:nvSpPr>
              <p:cNvPr id="26" name="Up Arrow 25"/>
              <p:cNvSpPr/>
              <p:nvPr/>
            </p:nvSpPr>
            <p:spPr bwMode="auto">
              <a:xfrm rot="5400000">
                <a:off x="6602695" y="3316815"/>
                <a:ext cx="111618" cy="4910666"/>
              </a:xfrm>
              <a:prstGeom prst="upArrow">
                <a:avLst>
                  <a:gd name="adj1" fmla="val 32932"/>
                  <a:gd name="adj2" fmla="val 77023"/>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27" name="Title 2"/>
          <p:cNvSpPr txBox="1">
            <a:spLocks/>
          </p:cNvSpPr>
          <p:nvPr/>
        </p:nvSpPr>
        <p:spPr>
          <a:xfrm>
            <a:off x="839569" y="2372728"/>
            <a:ext cx="6018232" cy="1116445"/>
          </a:xfrm>
          <a:prstGeom prst="rect">
            <a:avLst/>
          </a:prstGeom>
        </p:spPr>
        <p:txBody>
          <a:bodyPr vert="horz" wrap="square" lIns="146266" tIns="91416" rIns="146266" bIns="91416"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462"/>
            <a:r>
              <a:rPr lang="en-US" sz="3199" dirty="0">
                <a:solidFill>
                  <a:srgbClr val="00BCF2"/>
                </a:solidFill>
                <a:latin typeface="Segoe UI"/>
                <a:cs typeface="Segoe UI Semilight" panose="020B0402040204020203" pitchFamily="34" charset="0"/>
              </a:rPr>
              <a:t>Flow focus:</a:t>
            </a:r>
            <a:br>
              <a:rPr lang="en-US" sz="2399" b="1" dirty="0">
                <a:solidFill>
                  <a:srgbClr val="00BCF2"/>
                </a:solidFill>
                <a:latin typeface="Segoe UI"/>
                <a:cs typeface="Segoe UI Semilight" panose="020B0402040204020203" pitchFamily="34" charset="0"/>
              </a:rPr>
            </a:br>
            <a:r>
              <a:rPr lang="en-US" sz="3599" b="1" dirty="0">
                <a:solidFill>
                  <a:srgbClr val="00BCF2"/>
                </a:solidFill>
                <a:latin typeface="Segoe UI"/>
                <a:cs typeface="Segoe UI Semilight" panose="020B0402040204020203" pitchFamily="34" charset="0"/>
              </a:rPr>
              <a:t>Business Users &amp; Specialists</a:t>
            </a:r>
          </a:p>
        </p:txBody>
      </p:sp>
      <p:grpSp>
        <p:nvGrpSpPr>
          <p:cNvPr id="31" name="Group 30"/>
          <p:cNvGrpSpPr/>
          <p:nvPr/>
        </p:nvGrpSpPr>
        <p:grpSpPr>
          <a:xfrm>
            <a:off x="7135147" y="-3725941"/>
            <a:ext cx="11082155" cy="10150243"/>
            <a:chOff x="3856037" y="-5570538"/>
            <a:chExt cx="12573000" cy="11398495"/>
          </a:xfrm>
        </p:grpSpPr>
        <p:sp>
          <p:nvSpPr>
            <p:cNvPr id="32" name="Rectangle 31"/>
            <p:cNvSpPr/>
            <p:nvPr/>
          </p:nvSpPr>
          <p:spPr bwMode="auto">
            <a:xfrm rot="10800000">
              <a:off x="8523332" y="2217348"/>
              <a:ext cx="285704" cy="3571668"/>
            </a:xfrm>
            <a:prstGeom prst="rect">
              <a:avLst/>
            </a:prstGeom>
            <a:gradFill>
              <a:gsLst>
                <a:gs pos="10000">
                  <a:srgbClr val="FFFFFF"/>
                </a:gs>
                <a:gs pos="100000">
                  <a:srgbClr val="0072C6">
                    <a:lumMod val="20000"/>
                    <a:lumOff val="80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Rectangle 32"/>
            <p:cNvSpPr/>
            <p:nvPr/>
          </p:nvSpPr>
          <p:spPr bwMode="auto">
            <a:xfrm>
              <a:off x="4276103" y="2178135"/>
              <a:ext cx="2864376" cy="3571668"/>
            </a:xfrm>
            <a:prstGeom prst="rect">
              <a:avLst/>
            </a:prstGeom>
            <a:gradFill>
              <a:gsLst>
                <a:gs pos="10000">
                  <a:srgbClr val="FFFFFF"/>
                </a:gs>
                <a:gs pos="100000">
                  <a:srgbClr val="0072C6">
                    <a:lumMod val="20000"/>
                    <a:lumOff val="80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Rectangle 33"/>
            <p:cNvSpPr/>
            <p:nvPr/>
          </p:nvSpPr>
          <p:spPr bwMode="auto">
            <a:xfrm>
              <a:off x="7140478" y="2179603"/>
              <a:ext cx="1382855" cy="3603908"/>
            </a:xfrm>
            <a:prstGeom prst="rect">
              <a:avLst/>
            </a:prstGeom>
            <a:solidFill>
              <a:srgbClr val="0072C6">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Up Arrow 34"/>
            <p:cNvSpPr/>
            <p:nvPr/>
          </p:nvSpPr>
          <p:spPr bwMode="auto">
            <a:xfrm>
              <a:off x="4164541" y="1905001"/>
              <a:ext cx="111618" cy="3886200"/>
            </a:xfrm>
            <a:prstGeom prst="upArrow">
              <a:avLst>
                <a:gd name="adj1" fmla="val 32932"/>
                <a:gd name="adj2" fmla="val 77023"/>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Arc 36"/>
            <p:cNvSpPr/>
            <p:nvPr/>
          </p:nvSpPr>
          <p:spPr>
            <a:xfrm rot="10800000">
              <a:off x="3856037" y="-5570538"/>
              <a:ext cx="12573000" cy="11210190"/>
            </a:xfrm>
            <a:prstGeom prst="arc">
              <a:avLst>
                <a:gd name="adj1" fmla="val 16996877"/>
                <a:gd name="adj2" fmla="val 20391958"/>
              </a:avLst>
            </a:prstGeom>
            <a:solidFill>
              <a:srgbClr val="FFFFFF"/>
            </a:solidFill>
            <a:ln w="38100" cap="flat" cmpd="sng" algn="ctr">
              <a:solidFill>
                <a:srgbClr val="0072C6">
                  <a:lumMod val="75000"/>
                </a:srgbClr>
              </a:solidFill>
              <a:prstDash val="solid"/>
              <a:headEnd type="none"/>
              <a:tailEnd type="none"/>
            </a:ln>
            <a:effectLst/>
          </p:spPr>
          <p:txBody>
            <a:bodyPr rtlCol="0" anchor="ctr"/>
            <a:lstStyle/>
            <a:p>
              <a:pPr algn="ctr" defTabSz="932462">
                <a:defRPr/>
              </a:pPr>
              <a:endParaRPr lang="en-US" sz="1600" kern="0" dirty="0">
                <a:solidFill>
                  <a:srgbClr val="505050"/>
                </a:solidFill>
                <a:latin typeface="Segoe UI"/>
                <a:ea typeface=""/>
                <a:cs typeface=""/>
              </a:endParaRPr>
            </a:p>
          </p:txBody>
        </p:sp>
        <p:sp>
          <p:nvSpPr>
            <p:cNvPr id="38" name="Up Arrow 37"/>
            <p:cNvSpPr/>
            <p:nvPr/>
          </p:nvSpPr>
          <p:spPr bwMode="auto">
            <a:xfrm rot="5400000">
              <a:off x="6602695" y="3316815"/>
              <a:ext cx="111618" cy="4910666"/>
            </a:xfrm>
            <a:prstGeom prst="upArrow">
              <a:avLst>
                <a:gd name="adj1" fmla="val 32932"/>
                <a:gd name="adj2" fmla="val 77023"/>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9" name="Title 2"/>
          <p:cNvSpPr txBox="1">
            <a:spLocks/>
          </p:cNvSpPr>
          <p:nvPr/>
        </p:nvSpPr>
        <p:spPr>
          <a:xfrm>
            <a:off x="839569" y="4764440"/>
            <a:ext cx="6018232" cy="1116445"/>
          </a:xfrm>
          <a:prstGeom prst="rect">
            <a:avLst/>
          </a:prstGeom>
        </p:spPr>
        <p:txBody>
          <a:bodyPr vert="horz" wrap="square" lIns="146266" tIns="91416" rIns="146266" bIns="91416"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462"/>
            <a:r>
              <a:rPr lang="en-US" sz="3199" dirty="0">
                <a:solidFill>
                  <a:srgbClr val="005695"/>
                </a:solidFill>
                <a:latin typeface="Segoe UI"/>
                <a:cs typeface="Segoe UI Semilight" panose="020B0402040204020203" pitchFamily="34" charset="0"/>
              </a:rPr>
              <a:t>BizTalk &amp; Logic Apps focus:</a:t>
            </a:r>
            <a:br>
              <a:rPr lang="en-US" sz="2399" b="1" dirty="0">
                <a:solidFill>
                  <a:srgbClr val="005695"/>
                </a:solidFill>
                <a:latin typeface="Segoe UI"/>
                <a:cs typeface="Segoe UI Semilight" panose="020B0402040204020203" pitchFamily="34" charset="0"/>
              </a:rPr>
            </a:br>
            <a:r>
              <a:rPr lang="en-US" sz="3599" b="1" dirty="0">
                <a:solidFill>
                  <a:srgbClr val="005695"/>
                </a:solidFill>
                <a:latin typeface="Segoe UI"/>
                <a:cs typeface="Segoe UI Semilight" panose="020B0402040204020203" pitchFamily="34" charset="0"/>
              </a:rPr>
              <a:t>IT Pro / Developers</a:t>
            </a:r>
          </a:p>
        </p:txBody>
      </p:sp>
      <p:sp>
        <p:nvSpPr>
          <p:cNvPr id="28" name="Title 4"/>
          <p:cNvSpPr txBox="1">
            <a:spLocks/>
          </p:cNvSpPr>
          <p:nvPr/>
        </p:nvSpPr>
        <p:spPr>
          <a:xfrm>
            <a:off x="520701" y="228601"/>
            <a:ext cx="11149013" cy="747897"/>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gradFill>
                  <a:gsLst>
                    <a:gs pos="1250">
                      <a:srgbClr val="1F497D"/>
                    </a:gs>
                    <a:gs pos="100000">
                      <a:srgbClr val="1F497D"/>
                    </a:gs>
                  </a:gsLst>
                  <a:lin ang="5400000" scaled="0"/>
                </a:gradFill>
                <a:latin typeface="Calibri Light" panose="020F0302020204030204"/>
              </a:rPr>
              <a:t>But…. Who is the audience for Flow?</a:t>
            </a:r>
          </a:p>
        </p:txBody>
      </p:sp>
    </p:spTree>
    <p:extLst>
      <p:ext uri="{BB962C8B-B14F-4D97-AF65-F5344CB8AC3E}">
        <p14:creationId xmlns:p14="http://schemas.microsoft.com/office/powerpoint/2010/main" val="422422243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9"/>
                                        </p:tgtEl>
                                        <p:attrNameLst>
                                          <p:attrName>style.visibility</p:attrName>
                                        </p:attrNameLst>
                                      </p:cBhvr>
                                      <p:to>
                                        <p:strVal val="visible"/>
                                      </p:to>
                                    </p:set>
                                    <p:animEffect transition="in" filter="fade">
                                      <p:cBhvr>
                                        <p:cTn id="10"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4"/>
          <p:cNvSpPr txBox="1">
            <a:spLocks/>
          </p:cNvSpPr>
          <p:nvPr/>
        </p:nvSpPr>
        <p:spPr>
          <a:xfrm>
            <a:off x="520701" y="228601"/>
            <a:ext cx="11149013" cy="747897"/>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gradFill>
                  <a:gsLst>
                    <a:gs pos="1250">
                      <a:srgbClr val="1F497D"/>
                    </a:gs>
                    <a:gs pos="100000">
                      <a:srgbClr val="1F497D"/>
                    </a:gs>
                  </a:gsLst>
                  <a:lin ang="5400000" scaled="0"/>
                </a:gradFill>
                <a:latin typeface="Calibri Light" panose="020F0302020204030204"/>
              </a:rPr>
              <a:t>Under the hood of Flow</a:t>
            </a:r>
          </a:p>
        </p:txBody>
      </p:sp>
      <p:pic>
        <p:nvPicPr>
          <p:cNvPr id="10" name="Picture 9"/>
          <p:cNvPicPr>
            <a:picLocks noChangeAspect="1"/>
          </p:cNvPicPr>
          <p:nvPr/>
        </p:nvPicPr>
        <p:blipFill>
          <a:blip r:embed="rId3"/>
          <a:stretch>
            <a:fillRect/>
          </a:stretch>
        </p:blipFill>
        <p:spPr>
          <a:xfrm>
            <a:off x="9727255" y="1826043"/>
            <a:ext cx="1625177" cy="1625177"/>
          </a:xfrm>
          <a:prstGeom prst="rect">
            <a:avLst/>
          </a:prstGeom>
        </p:spPr>
      </p:pic>
      <p:pic>
        <p:nvPicPr>
          <p:cNvPr id="11" name="Picture 10"/>
          <p:cNvPicPr>
            <a:picLocks noChangeAspect="1"/>
          </p:cNvPicPr>
          <p:nvPr/>
        </p:nvPicPr>
        <p:blipFill>
          <a:blip r:embed="rId4"/>
          <a:stretch>
            <a:fillRect/>
          </a:stretch>
        </p:blipFill>
        <p:spPr>
          <a:xfrm>
            <a:off x="9727255" y="4001146"/>
            <a:ext cx="1625177" cy="1625177"/>
          </a:xfrm>
          <a:prstGeom prst="rect">
            <a:avLst/>
          </a:prstGeom>
        </p:spPr>
      </p:pic>
      <p:sp>
        <p:nvSpPr>
          <p:cNvPr id="12" name="Content Placeholder 2"/>
          <p:cNvSpPr>
            <a:spLocks noGrp="1"/>
          </p:cNvSpPr>
          <p:nvPr>
            <p:ph idx="1"/>
          </p:nvPr>
        </p:nvSpPr>
        <p:spPr>
          <a:xfrm>
            <a:off x="839571" y="1826043"/>
            <a:ext cx="7870613" cy="4350205"/>
          </a:xfrm>
        </p:spPr>
        <p:txBody>
          <a:bodyPr>
            <a:normAutofit fontScale="85000" lnSpcReduction="20000"/>
          </a:bodyPr>
          <a:lstStyle/>
          <a:p>
            <a:pPr marL="336044" indent="-336044" defTabSz="914093">
              <a:spcBef>
                <a:spcPct val="20000"/>
              </a:spcBef>
              <a:buSzPct val="90000"/>
            </a:pPr>
            <a:r>
              <a:rPr lang="en-US" sz="3920" dirty="0">
                <a:gradFill>
                  <a:gsLst>
                    <a:gs pos="1250">
                      <a:srgbClr val="505050"/>
                    </a:gs>
                    <a:gs pos="100000">
                      <a:srgbClr val="505050"/>
                    </a:gs>
                  </a:gsLst>
                  <a:lin ang="5400000" scaled="0"/>
                </a:gradFill>
                <a:latin typeface="Segoe UI Light"/>
              </a:rPr>
              <a:t>Flow is good for simple integrations and empowering users to do integrations without going through </a:t>
            </a:r>
            <a:r>
              <a:rPr lang="en-US" sz="3920" dirty="0" err="1">
                <a:gradFill>
                  <a:gsLst>
                    <a:gs pos="1250">
                      <a:srgbClr val="505050"/>
                    </a:gs>
                    <a:gs pos="100000">
                      <a:srgbClr val="505050"/>
                    </a:gs>
                  </a:gsLst>
                  <a:lin ang="5400000" scaled="0"/>
                </a:gradFill>
                <a:latin typeface="Segoe UI Light"/>
              </a:rPr>
              <a:t>devs</a:t>
            </a:r>
            <a:r>
              <a:rPr lang="en-US" sz="3920" dirty="0">
                <a:gradFill>
                  <a:gsLst>
                    <a:gs pos="1250">
                      <a:srgbClr val="505050"/>
                    </a:gs>
                    <a:gs pos="100000">
                      <a:srgbClr val="505050"/>
                    </a:gs>
                  </a:gsLst>
                  <a:lin ang="5400000" scaled="0"/>
                </a:gradFill>
                <a:latin typeface="Segoe UI Light"/>
              </a:rPr>
              <a:t> + IT</a:t>
            </a:r>
          </a:p>
          <a:p>
            <a:pPr marL="336044" indent="-336044" defTabSz="914093">
              <a:spcBef>
                <a:spcPct val="20000"/>
              </a:spcBef>
              <a:buSzPct val="90000"/>
            </a:pPr>
            <a:endParaRPr lang="en-US" sz="3920" dirty="0">
              <a:gradFill>
                <a:gsLst>
                  <a:gs pos="1250">
                    <a:srgbClr val="505050"/>
                  </a:gs>
                  <a:gs pos="100000">
                    <a:srgbClr val="505050"/>
                  </a:gs>
                </a:gsLst>
                <a:lin ang="5400000" scaled="0"/>
              </a:gradFill>
              <a:latin typeface="Segoe UI Light"/>
            </a:endParaRPr>
          </a:p>
          <a:p>
            <a:pPr marL="336044" indent="-336044" defTabSz="914093">
              <a:spcBef>
                <a:spcPct val="20000"/>
              </a:spcBef>
              <a:buSzPct val="90000"/>
            </a:pPr>
            <a:r>
              <a:rPr lang="en-US" sz="3920" dirty="0">
                <a:gradFill>
                  <a:gsLst>
                    <a:gs pos="1250">
                      <a:srgbClr val="505050"/>
                    </a:gs>
                    <a:gs pos="100000">
                      <a:srgbClr val="505050"/>
                    </a:gs>
                  </a:gsLst>
                  <a:lin ang="5400000" scaled="0"/>
                </a:gradFill>
                <a:latin typeface="Segoe UI Light"/>
              </a:rPr>
              <a:t>However, sometimes IT / </a:t>
            </a:r>
            <a:r>
              <a:rPr lang="en-US" sz="3920" dirty="0" err="1">
                <a:gradFill>
                  <a:gsLst>
                    <a:gs pos="1250">
                      <a:srgbClr val="505050"/>
                    </a:gs>
                    <a:gs pos="100000">
                      <a:srgbClr val="505050"/>
                    </a:gs>
                  </a:gsLst>
                  <a:lin ang="5400000" scaled="0"/>
                </a:gradFill>
                <a:latin typeface="Segoe UI Light"/>
              </a:rPr>
              <a:t>devs</a:t>
            </a:r>
            <a:r>
              <a:rPr lang="en-US" sz="3920" dirty="0">
                <a:gradFill>
                  <a:gsLst>
                    <a:gs pos="1250">
                      <a:srgbClr val="505050"/>
                    </a:gs>
                    <a:gs pos="100000">
                      <a:srgbClr val="505050"/>
                    </a:gs>
                  </a:gsLst>
                  <a:lin ang="5400000" scaled="0"/>
                </a:gradFill>
                <a:latin typeface="Segoe UI Light"/>
              </a:rPr>
              <a:t> need to take over when the Flow gets too advanced or becomes business-critical</a:t>
            </a:r>
          </a:p>
          <a:p>
            <a:pPr marL="336044" indent="-336044" defTabSz="914093">
              <a:spcBef>
                <a:spcPct val="20000"/>
              </a:spcBef>
              <a:buSzPct val="90000"/>
            </a:pPr>
            <a:endParaRPr lang="en-US" sz="3920" dirty="0">
              <a:gradFill>
                <a:gsLst>
                  <a:gs pos="1250">
                    <a:srgbClr val="505050"/>
                  </a:gs>
                  <a:gs pos="100000">
                    <a:srgbClr val="505050"/>
                  </a:gs>
                </a:gsLst>
                <a:lin ang="5400000" scaled="0"/>
              </a:gradFill>
              <a:latin typeface="Segoe UI Light"/>
            </a:endParaRPr>
          </a:p>
          <a:p>
            <a:pPr marL="336044" indent="-336044" defTabSz="914093">
              <a:spcBef>
                <a:spcPct val="20000"/>
              </a:spcBef>
              <a:buSzPct val="90000"/>
            </a:pPr>
            <a:r>
              <a:rPr lang="en-US" sz="3920" dirty="0">
                <a:gradFill>
                  <a:gsLst>
                    <a:gs pos="1250">
                      <a:srgbClr val="505050"/>
                    </a:gs>
                    <a:gs pos="100000">
                      <a:srgbClr val="505050"/>
                    </a:gs>
                  </a:gsLst>
                  <a:lin ang="5400000" scaled="0"/>
                </a:gradFill>
                <a:latin typeface="Segoe UI Light"/>
              </a:rPr>
              <a:t>Any Flow can be converted to a Logic App (will be one-click later this year)</a:t>
            </a:r>
          </a:p>
        </p:txBody>
      </p:sp>
    </p:spTree>
    <p:extLst>
      <p:ext uri="{BB962C8B-B14F-4D97-AF65-F5344CB8AC3E}">
        <p14:creationId xmlns:p14="http://schemas.microsoft.com/office/powerpoint/2010/main" val="190560512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xit" presetSubtype="1" fill="hold" nodeType="afterEffect">
                                  <p:stCondLst>
                                    <p:cond delay="2000"/>
                                  </p:stCondLst>
                                  <p:childTnLst>
                                    <p:anim calcmode="lin" valueType="num">
                                      <p:cBhvr additive="base">
                                        <p:cTn id="6" dur="500"/>
                                        <p:tgtEl>
                                          <p:spTgt spid="11"/>
                                        </p:tgtEl>
                                        <p:attrNameLst>
                                          <p:attrName>ppt_y</p:attrName>
                                        </p:attrNameLst>
                                      </p:cBhvr>
                                      <p:tavLst>
                                        <p:tav tm="0">
                                          <p:val>
                                            <p:strVal val="#ppt_y"/>
                                          </p:val>
                                        </p:tav>
                                        <p:tav tm="100000">
                                          <p:val>
                                            <p:strVal val="#ppt_y-#ppt_h*1.125000"/>
                                          </p:val>
                                        </p:tav>
                                      </p:tavLst>
                                    </p:anim>
                                    <p:animEffect transition="out" filter="wipe(up)">
                                      <p:cBhvr>
                                        <p:cTn id="7" dur="500"/>
                                        <p:tgtEl>
                                          <p:spTgt spid="11"/>
                                        </p:tgtEl>
                                      </p:cBhvr>
                                    </p:animEffect>
                                    <p:set>
                                      <p:cBhvr>
                                        <p:cTn id="8" dur="1" fill="hold">
                                          <p:stCondLst>
                                            <p:cond delay="499"/>
                                          </p:stCondLst>
                                        </p:cTn>
                                        <p:tgtEl>
                                          <p:spTgt spid="11"/>
                                        </p:tgtEl>
                                        <p:attrNameLst>
                                          <p:attrName>style.visibility</p:attrName>
                                        </p:attrNameLst>
                                      </p:cBhvr>
                                      <p:to>
                                        <p:strVal val="hidden"/>
                                      </p:to>
                                    </p:set>
                                  </p:childTnLst>
                                </p:cTn>
                              </p:par>
                              <p:par>
                                <p:cTn id="9" presetID="12" presetClass="entr" presetSubtype="4" fill="hold" nodeType="withEffect">
                                  <p:stCondLst>
                                    <p:cond delay="200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p:tgtEl>
                                          <p:spTgt spid="10"/>
                                        </p:tgtEl>
                                        <p:attrNameLst>
                                          <p:attrName>ppt_y</p:attrName>
                                        </p:attrNameLst>
                                      </p:cBhvr>
                                      <p:tavLst>
                                        <p:tav tm="0">
                                          <p:val>
                                            <p:strVal val="#ppt_y+#ppt_h*1.125000"/>
                                          </p:val>
                                        </p:tav>
                                        <p:tav tm="100000">
                                          <p:val>
                                            <p:strVal val="#ppt_y"/>
                                          </p:val>
                                        </p:tav>
                                      </p:tavLst>
                                    </p:anim>
                                    <p:animEffect transition="in" filter="wipe(up)">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4"/>
          <p:cNvSpPr txBox="1">
            <a:spLocks/>
          </p:cNvSpPr>
          <p:nvPr/>
        </p:nvSpPr>
        <p:spPr>
          <a:xfrm>
            <a:off x="520701" y="228601"/>
            <a:ext cx="11149013" cy="747897"/>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gradFill>
                  <a:gsLst>
                    <a:gs pos="1250">
                      <a:srgbClr val="1F497D"/>
                    </a:gs>
                    <a:gs pos="100000">
                      <a:srgbClr val="1F497D"/>
                    </a:gs>
                  </a:gsLst>
                  <a:lin ang="5400000" scaled="0"/>
                </a:gradFill>
                <a:latin typeface="Calibri Light" panose="020F0302020204030204"/>
              </a:rPr>
              <a:t>Example Use Cases</a:t>
            </a:r>
          </a:p>
        </p:txBody>
      </p:sp>
      <p:sp>
        <p:nvSpPr>
          <p:cNvPr id="8" name="Content Placeholder 2"/>
          <p:cNvSpPr>
            <a:spLocks noGrp="1"/>
          </p:cNvSpPr>
          <p:nvPr>
            <p:ph idx="1"/>
          </p:nvPr>
        </p:nvSpPr>
        <p:spPr>
          <a:xfrm>
            <a:off x="566924" y="2108201"/>
            <a:ext cx="11102789" cy="4084085"/>
          </a:xfrm>
        </p:spPr>
        <p:txBody>
          <a:bodyPr vert="horz" lIns="91440" tIns="45720" rIns="91440" bIns="45720" rtlCol="0">
            <a:normAutofit fontScale="85000" lnSpcReduction="20000"/>
          </a:bodyPr>
          <a:lstStyle/>
          <a:p>
            <a:pPr marL="336044" indent="-336044" defTabSz="914093">
              <a:spcBef>
                <a:spcPct val="20000"/>
              </a:spcBef>
              <a:buSzPct val="90000"/>
            </a:pPr>
            <a:r>
              <a:rPr lang="en-US" sz="3900" dirty="0">
                <a:gradFill>
                  <a:gsLst>
                    <a:gs pos="1250">
                      <a:srgbClr val="505050"/>
                    </a:gs>
                    <a:gs pos="100000">
                      <a:srgbClr val="505050"/>
                    </a:gs>
                  </a:gsLst>
                  <a:lin ang="5400000" scaled="0"/>
                </a:gradFill>
                <a:latin typeface="Segoe UI Light"/>
              </a:rPr>
              <a:t>Enriching or pushing data to existing store; e.g.</a:t>
            </a:r>
          </a:p>
          <a:p>
            <a:pPr lvl="1">
              <a:buSzPct val="90000"/>
            </a:pPr>
            <a:r>
              <a:rPr lang="en-US" sz="3100" dirty="0">
                <a:gradFill>
                  <a:gsLst>
                    <a:gs pos="1250">
                      <a:srgbClr val="505050"/>
                    </a:gs>
                    <a:gs pos="100000">
                      <a:srgbClr val="505050"/>
                    </a:gs>
                  </a:gsLst>
                  <a:lin ang="5400000" scaled="0"/>
                </a:gradFill>
                <a:latin typeface="Segoe UI Light"/>
              </a:rPr>
              <a:t>take customer information from </a:t>
            </a:r>
            <a:r>
              <a:rPr lang="en-US" sz="3100" dirty="0" err="1">
                <a:gradFill>
                  <a:gsLst>
                    <a:gs pos="1250">
                      <a:srgbClr val="505050"/>
                    </a:gs>
                    <a:gs pos="100000">
                      <a:srgbClr val="505050"/>
                    </a:gs>
                  </a:gsLst>
                  <a:lin ang="5400000" scaled="0"/>
                </a:gradFill>
                <a:latin typeface="Segoe UI Light"/>
              </a:rPr>
              <a:t>SalesForce</a:t>
            </a:r>
            <a:r>
              <a:rPr lang="en-US" sz="3100" dirty="0">
                <a:gradFill>
                  <a:gsLst>
                    <a:gs pos="1250">
                      <a:srgbClr val="505050"/>
                    </a:gs>
                    <a:gs pos="100000">
                      <a:srgbClr val="505050"/>
                    </a:gs>
                  </a:gsLst>
                  <a:lin ang="5400000" scaled="0"/>
                </a:gradFill>
                <a:latin typeface="Segoe UI Light"/>
              </a:rPr>
              <a:t> / CRM and add it to a SharePoint list</a:t>
            </a:r>
          </a:p>
          <a:p>
            <a:pPr marL="336044" indent="-336044" defTabSz="914093">
              <a:spcBef>
                <a:spcPct val="20000"/>
              </a:spcBef>
              <a:buSzPct val="90000"/>
            </a:pPr>
            <a:endParaRPr lang="en-US" sz="3900" dirty="0">
              <a:gradFill>
                <a:gsLst>
                  <a:gs pos="1250">
                    <a:srgbClr val="505050"/>
                  </a:gs>
                  <a:gs pos="100000">
                    <a:srgbClr val="505050"/>
                  </a:gs>
                </a:gsLst>
                <a:lin ang="5400000" scaled="0"/>
              </a:gradFill>
              <a:latin typeface="Segoe UI Light"/>
            </a:endParaRPr>
          </a:p>
          <a:p>
            <a:pPr marL="336044" indent="-336044" defTabSz="914093">
              <a:spcBef>
                <a:spcPct val="20000"/>
              </a:spcBef>
              <a:buSzPct val="90000"/>
            </a:pPr>
            <a:r>
              <a:rPr lang="en-US" sz="3900" dirty="0">
                <a:gradFill>
                  <a:gsLst>
                    <a:gs pos="1250">
                      <a:srgbClr val="505050"/>
                    </a:gs>
                    <a:gs pos="100000">
                      <a:srgbClr val="505050"/>
                    </a:gs>
                  </a:gsLst>
                  <a:lin ang="5400000" scaled="0"/>
                </a:gradFill>
                <a:latin typeface="Segoe UI Light"/>
              </a:rPr>
              <a:t>Approval workflows for common administrative tasks; e.g.</a:t>
            </a:r>
          </a:p>
          <a:p>
            <a:pPr lvl="1">
              <a:buSzPct val="90000"/>
            </a:pPr>
            <a:r>
              <a:rPr lang="en-US" sz="3100" dirty="0">
                <a:gradFill>
                  <a:gsLst>
                    <a:gs pos="1250">
                      <a:srgbClr val="505050"/>
                    </a:gs>
                    <a:gs pos="100000">
                      <a:srgbClr val="505050"/>
                    </a:gs>
                  </a:gsLst>
                  <a:lin ang="5400000" scaled="0"/>
                </a:gradFill>
                <a:latin typeface="Segoe UI Light"/>
              </a:rPr>
              <a:t>resume screening; vacation requests; etc.</a:t>
            </a:r>
          </a:p>
          <a:p>
            <a:pPr marL="336044" indent="-336044" defTabSz="914093">
              <a:spcBef>
                <a:spcPct val="20000"/>
              </a:spcBef>
              <a:buSzPct val="90000"/>
            </a:pPr>
            <a:endParaRPr lang="en-US" sz="3900" dirty="0">
              <a:gradFill>
                <a:gsLst>
                  <a:gs pos="1250">
                    <a:srgbClr val="505050"/>
                  </a:gs>
                  <a:gs pos="100000">
                    <a:srgbClr val="505050"/>
                  </a:gs>
                </a:gsLst>
                <a:lin ang="5400000" scaled="0"/>
              </a:gradFill>
              <a:latin typeface="Segoe UI Light"/>
            </a:endParaRPr>
          </a:p>
          <a:p>
            <a:pPr marL="336044" indent="-336044" defTabSz="914093">
              <a:spcBef>
                <a:spcPct val="20000"/>
              </a:spcBef>
              <a:buSzPct val="90000"/>
            </a:pPr>
            <a:r>
              <a:rPr lang="en-US" sz="3900" dirty="0">
                <a:gradFill>
                  <a:gsLst>
                    <a:gs pos="1250">
                      <a:srgbClr val="505050"/>
                    </a:gs>
                    <a:gs pos="100000">
                      <a:srgbClr val="505050"/>
                    </a:gs>
                  </a:gsLst>
                  <a:lin ang="5400000" scaled="0"/>
                </a:gradFill>
                <a:latin typeface="Segoe UI Light"/>
              </a:rPr>
              <a:t>Capturing data for better visualizations</a:t>
            </a:r>
          </a:p>
          <a:p>
            <a:pPr lvl="1">
              <a:buSzPct val="90000"/>
            </a:pPr>
            <a:r>
              <a:rPr lang="en-US" sz="3100" dirty="0">
                <a:gradFill>
                  <a:gsLst>
                    <a:gs pos="1250">
                      <a:srgbClr val="505050"/>
                    </a:gs>
                    <a:gs pos="100000">
                      <a:srgbClr val="505050"/>
                    </a:gs>
                  </a:gsLst>
                  <a:lin ang="5400000" scaled="0"/>
                </a:gradFill>
                <a:latin typeface="Segoe UI Light"/>
              </a:rPr>
              <a:t>take data from an “unsupported” database and push it into Power BI (using Excel or SQL connectors)</a:t>
            </a:r>
            <a:endParaRPr lang="en-US" sz="4300" dirty="0">
              <a:gradFill>
                <a:gsLst>
                  <a:gs pos="1250">
                    <a:srgbClr val="505050"/>
                  </a:gs>
                  <a:gs pos="100000">
                    <a:srgbClr val="505050"/>
                  </a:gs>
                </a:gsLst>
                <a:lin ang="5400000" scaled="0"/>
              </a:gradFill>
              <a:latin typeface="Segoe UI Light"/>
            </a:endParaRPr>
          </a:p>
          <a:p>
            <a:pPr marL="0" indent="0">
              <a:buSzPct val="90000"/>
              <a:buNone/>
            </a:pPr>
            <a:endParaRPr lang="en-US" sz="3920" dirty="0">
              <a:gradFill>
                <a:gsLst>
                  <a:gs pos="1250">
                    <a:srgbClr val="505050"/>
                  </a:gs>
                  <a:gs pos="100000">
                    <a:srgbClr val="505050"/>
                  </a:gs>
                </a:gsLst>
                <a:lin ang="5400000" scaled="0"/>
              </a:gradFill>
              <a:latin typeface="Segoe UI Light"/>
            </a:endParaRPr>
          </a:p>
        </p:txBody>
      </p:sp>
    </p:spTree>
    <p:extLst>
      <p:ext uri="{BB962C8B-B14F-4D97-AF65-F5344CB8AC3E}">
        <p14:creationId xmlns:p14="http://schemas.microsoft.com/office/powerpoint/2010/main" val="602484572"/>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301" y="1941450"/>
            <a:ext cx="8509213" cy="2052290"/>
          </a:xfrm>
        </p:spPr>
        <p:txBody>
          <a:bodyPr/>
          <a:lstStyle/>
          <a:p>
            <a:r>
              <a:rPr lang="en-US" sz="4400" b="1" dirty="0"/>
              <a:t>How can </a:t>
            </a:r>
            <a:r>
              <a:rPr lang="en-US" sz="4400" b="1" dirty="0" err="1"/>
              <a:t>PowerApps</a:t>
            </a:r>
            <a:r>
              <a:rPr lang="en-US" sz="4400" b="1" dirty="0"/>
              <a:t> and Microsoft Flow allows your power users to quickly build Enterprise Mobile Apps</a:t>
            </a:r>
            <a:endParaRPr lang="pt-PT" sz="3600" dirty="0"/>
          </a:p>
        </p:txBody>
      </p:sp>
      <p:sp>
        <p:nvSpPr>
          <p:cNvPr id="3" name="Text Placeholder 2"/>
          <p:cNvSpPr>
            <a:spLocks noGrp="1"/>
          </p:cNvSpPr>
          <p:nvPr>
            <p:ph type="body" sz="quarter" idx="14"/>
          </p:nvPr>
        </p:nvSpPr>
        <p:spPr>
          <a:xfrm>
            <a:off x="269302" y="4205517"/>
            <a:ext cx="7172955" cy="1390819"/>
          </a:xfrm>
        </p:spPr>
        <p:txBody>
          <a:bodyPr/>
          <a:lstStyle/>
          <a:p>
            <a:r>
              <a:rPr lang="en-US" sz="2745" b="1" dirty="0"/>
              <a:t>Sandro Pereira</a:t>
            </a:r>
          </a:p>
          <a:p>
            <a:r>
              <a:rPr lang="en-US" sz="2745" dirty="0"/>
              <a:t>Microsoft Azure MVP</a:t>
            </a:r>
          </a:p>
          <a:p>
            <a:endParaRPr lang="pt-PT" dirty="0"/>
          </a:p>
        </p:txBody>
      </p:sp>
    </p:spTree>
    <p:extLst>
      <p:ext uri="{BB962C8B-B14F-4D97-AF65-F5344CB8AC3E}">
        <p14:creationId xmlns:p14="http://schemas.microsoft.com/office/powerpoint/2010/main" val="1130887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4"/>
          <p:cNvSpPr txBox="1">
            <a:spLocks/>
          </p:cNvSpPr>
          <p:nvPr/>
        </p:nvSpPr>
        <p:spPr>
          <a:xfrm>
            <a:off x="520701" y="228601"/>
            <a:ext cx="11149013" cy="747897"/>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gradFill>
                  <a:gsLst>
                    <a:gs pos="1250">
                      <a:srgbClr val="1F497D"/>
                    </a:gs>
                    <a:gs pos="100000">
                      <a:srgbClr val="1F497D"/>
                    </a:gs>
                  </a:gsLst>
                  <a:lin ang="5400000" scaled="0"/>
                </a:gradFill>
                <a:latin typeface="Calibri Light" panose="020F0302020204030204"/>
              </a:rPr>
              <a:t>Flow + SharePoint</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67900" y="1360993"/>
            <a:ext cx="5641164" cy="4904830"/>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1395" y="1360993"/>
            <a:ext cx="4887250" cy="2973568"/>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2767" y="1907092"/>
            <a:ext cx="5349362" cy="4854940"/>
          </a:xfrm>
          <a:prstGeom prst="rect">
            <a:avLst/>
          </a:prstGeom>
        </p:spPr>
      </p:pic>
    </p:spTree>
    <p:extLst>
      <p:ext uri="{BB962C8B-B14F-4D97-AF65-F5344CB8AC3E}">
        <p14:creationId xmlns:p14="http://schemas.microsoft.com/office/powerpoint/2010/main" val="317733190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wipe(left)">
                                      <p:cBhvr>
                                        <p:cTn id="12" dur="500"/>
                                        <p:tgtEl>
                                          <p:spTgt spid="9"/>
                                        </p:tgtEl>
                                      </p:cBhvr>
                                    </p:animEffect>
                                  </p:childTnLst>
                                </p:cTn>
                              </p:par>
                            </p:childTnLst>
                          </p:cTn>
                        </p:par>
                        <p:par>
                          <p:cTn id="13" fill="hold">
                            <p:stCondLst>
                              <p:cond delay="500"/>
                            </p:stCondLst>
                            <p:childTnLst>
                              <p:par>
                                <p:cTn id="14" presetID="10" presetClass="exit" presetSubtype="0" fill="hold" nodeType="afterEffect">
                                  <p:stCondLst>
                                    <p:cond delay="0"/>
                                  </p:stCondLst>
                                  <p:childTnLst>
                                    <p:animEffect transition="out" filter="fade">
                                      <p:cBhvr>
                                        <p:cTn id="15" dur="500"/>
                                        <p:tgtEl>
                                          <p:spTgt spid="7"/>
                                        </p:tgtEl>
                                      </p:cBhvr>
                                    </p:animEffect>
                                    <p:set>
                                      <p:cBhvr>
                                        <p:cTn id="16" dur="1" fill="hold">
                                          <p:stCondLst>
                                            <p:cond delay="499"/>
                                          </p:stCondLst>
                                        </p:cTn>
                                        <p:tgtEl>
                                          <p:spTgt spid="7"/>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childTnLst>
                          </p:cTn>
                        </p:par>
                        <p:par>
                          <p:cTn id="22" fill="hold">
                            <p:stCondLst>
                              <p:cond delay="500"/>
                            </p:stCondLst>
                            <p:childTnLst>
                              <p:par>
                                <p:cTn id="23" presetID="10" presetClass="exit" presetSubtype="0" fill="hold" nodeType="afterEffect">
                                  <p:stCondLst>
                                    <p:cond delay="0"/>
                                  </p:stCondLst>
                                  <p:childTnLst>
                                    <p:animEffect transition="out" filter="fade">
                                      <p:cBhvr>
                                        <p:cTn id="24" dur="500"/>
                                        <p:tgtEl>
                                          <p:spTgt spid="9"/>
                                        </p:tgtEl>
                                      </p:cBhvr>
                                    </p:animEffect>
                                    <p:set>
                                      <p:cBhvr>
                                        <p:cTn id="25"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4"/>
          <p:cNvSpPr txBox="1">
            <a:spLocks/>
          </p:cNvSpPr>
          <p:nvPr/>
        </p:nvSpPr>
        <p:spPr>
          <a:xfrm>
            <a:off x="520701" y="228601"/>
            <a:ext cx="11149013" cy="747897"/>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gradFill>
                  <a:gsLst>
                    <a:gs pos="1250">
                      <a:srgbClr val="1F497D"/>
                    </a:gs>
                    <a:gs pos="100000">
                      <a:srgbClr val="1F497D"/>
                    </a:gs>
                  </a:gsLst>
                  <a:lin ang="5400000" scaled="0"/>
                </a:gradFill>
                <a:latin typeface="Calibri Light" panose="020F0302020204030204"/>
              </a:rPr>
              <a:t>Flow available for Office workers</a:t>
            </a:r>
          </a:p>
        </p:txBody>
      </p:sp>
      <p:pic>
        <p:nvPicPr>
          <p:cNvPr id="8" name="Picture 6" descr="https://flowandspo.blob.core.windows.net/flowandspoimages/image-6.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07029" y="883817"/>
            <a:ext cx="5783384" cy="3115798"/>
          </a:xfrm>
          <a:prstGeom prst="rect">
            <a:avLst/>
          </a:prstGeom>
          <a:noFill/>
          <a:extLst>
            <a:ext uri="{909E8E84-426E-40DD-AFC4-6F175D3DCCD1}">
              <a14:hiddenFill xmlns:a14="http://schemas.microsoft.com/office/drawing/2010/main">
                <a:solidFill>
                  <a:srgbClr val="FFFFFF"/>
                </a:solidFill>
              </a14:hiddenFill>
            </a:ext>
          </a:extLst>
        </p:spPr>
      </p:pic>
      <p:sp>
        <p:nvSpPr>
          <p:cNvPr id="10" name="Content Placeholder 2"/>
          <p:cNvSpPr>
            <a:spLocks noGrp="1"/>
          </p:cNvSpPr>
          <p:nvPr>
            <p:ph idx="1"/>
          </p:nvPr>
        </p:nvSpPr>
        <p:spPr>
          <a:xfrm>
            <a:off x="839570" y="1826043"/>
            <a:ext cx="4464157" cy="4350205"/>
          </a:xfrm>
        </p:spPr>
        <p:txBody>
          <a:bodyPr vert="horz" lIns="91440" tIns="45720" rIns="91440" bIns="45720" rtlCol="0">
            <a:normAutofit fontScale="85000" lnSpcReduction="10000"/>
          </a:bodyPr>
          <a:lstStyle/>
          <a:p>
            <a:pPr marL="336044" indent="-336044" defTabSz="914093">
              <a:spcBef>
                <a:spcPct val="20000"/>
              </a:spcBef>
              <a:buSzPct val="90000"/>
            </a:pPr>
            <a:r>
              <a:rPr lang="en-US" sz="3920" dirty="0">
                <a:gradFill>
                  <a:gsLst>
                    <a:gs pos="1250">
                      <a:srgbClr val="505050"/>
                    </a:gs>
                    <a:gs pos="100000">
                      <a:srgbClr val="505050"/>
                    </a:gs>
                  </a:gsLst>
                  <a:lin ang="5400000" scaled="0"/>
                </a:gradFill>
                <a:latin typeface="Segoe UI Light"/>
              </a:rPr>
              <a:t>Embedding where it makes sense</a:t>
            </a:r>
          </a:p>
          <a:p>
            <a:pPr marL="336044" indent="-336044" defTabSz="914093">
              <a:spcBef>
                <a:spcPct val="20000"/>
              </a:spcBef>
              <a:buSzPct val="90000"/>
            </a:pPr>
            <a:endParaRPr lang="en-US" sz="3920" dirty="0">
              <a:gradFill>
                <a:gsLst>
                  <a:gs pos="1250">
                    <a:srgbClr val="505050"/>
                  </a:gs>
                  <a:gs pos="100000">
                    <a:srgbClr val="505050"/>
                  </a:gs>
                </a:gsLst>
                <a:lin ang="5400000" scaled="0"/>
              </a:gradFill>
              <a:latin typeface="Segoe UI Light"/>
            </a:endParaRPr>
          </a:p>
          <a:p>
            <a:pPr marL="336044" indent="-336044" defTabSz="914093">
              <a:spcBef>
                <a:spcPct val="20000"/>
              </a:spcBef>
              <a:buSzPct val="90000"/>
            </a:pPr>
            <a:r>
              <a:rPr lang="en-US" sz="3920" dirty="0">
                <a:gradFill>
                  <a:gsLst>
                    <a:gs pos="1250">
                      <a:srgbClr val="505050"/>
                    </a:gs>
                    <a:gs pos="100000">
                      <a:srgbClr val="505050"/>
                    </a:gs>
                  </a:gsLst>
                  <a:lin ang="5400000" scaled="0"/>
                </a:gradFill>
                <a:latin typeface="Segoe UI Light"/>
              </a:rPr>
              <a:t>Focusing on information products (not dev tools)</a:t>
            </a:r>
          </a:p>
          <a:p>
            <a:pPr marL="336044" indent="-336044" defTabSz="914093">
              <a:spcBef>
                <a:spcPct val="20000"/>
              </a:spcBef>
              <a:buSzPct val="90000"/>
            </a:pPr>
            <a:endParaRPr lang="en-US" sz="3920" dirty="0">
              <a:gradFill>
                <a:gsLst>
                  <a:gs pos="1250">
                    <a:srgbClr val="505050"/>
                  </a:gs>
                  <a:gs pos="100000">
                    <a:srgbClr val="505050"/>
                  </a:gs>
                </a:gsLst>
                <a:lin ang="5400000" scaled="0"/>
              </a:gradFill>
              <a:latin typeface="Segoe UI Light"/>
            </a:endParaRPr>
          </a:p>
          <a:p>
            <a:pPr marL="336044" indent="-336044" defTabSz="914093">
              <a:spcBef>
                <a:spcPct val="20000"/>
              </a:spcBef>
              <a:buSzPct val="90000"/>
            </a:pPr>
            <a:r>
              <a:rPr lang="en-US" sz="3920" dirty="0">
                <a:gradFill>
                  <a:gsLst>
                    <a:gs pos="1250">
                      <a:srgbClr val="505050"/>
                    </a:gs>
                    <a:gs pos="100000">
                      <a:srgbClr val="505050"/>
                    </a:gs>
                  </a:gsLst>
                  <a:lin ang="5400000" scaled="0"/>
                </a:gradFill>
                <a:latin typeface="Segoe UI Light"/>
              </a:rPr>
              <a:t>SharePoint Online is now available</a:t>
            </a:r>
          </a:p>
        </p:txBody>
      </p:sp>
      <p:pic>
        <p:nvPicPr>
          <p:cNvPr id="12" name="Picture 11"/>
          <p:cNvPicPr>
            <a:picLocks noChangeAspect="1"/>
          </p:cNvPicPr>
          <p:nvPr/>
        </p:nvPicPr>
        <p:blipFill>
          <a:blip r:embed="rId4"/>
          <a:stretch>
            <a:fillRect/>
          </a:stretch>
        </p:blipFill>
        <p:spPr>
          <a:xfrm>
            <a:off x="5109393" y="4037428"/>
            <a:ext cx="7081021" cy="2980664"/>
          </a:xfrm>
          <a:prstGeom prst="rect">
            <a:avLst/>
          </a:prstGeom>
        </p:spPr>
      </p:pic>
      <p:sp>
        <p:nvSpPr>
          <p:cNvPr id="13" name="Rectangle 12"/>
          <p:cNvSpPr/>
          <p:nvPr/>
        </p:nvSpPr>
        <p:spPr bwMode="auto">
          <a:xfrm>
            <a:off x="7741852" y="4815286"/>
            <a:ext cx="1816100" cy="607095"/>
          </a:xfrm>
          <a:prstGeom prst="rect">
            <a:avLst/>
          </a:prstGeom>
          <a:noFill/>
          <a:ln w="28575">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pt-PT" sz="240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Tree>
    <p:extLst>
      <p:ext uri="{BB962C8B-B14F-4D97-AF65-F5344CB8AC3E}">
        <p14:creationId xmlns:p14="http://schemas.microsoft.com/office/powerpoint/2010/main" val="511280387"/>
      </p:ext>
    </p:extLst>
  </p:cSld>
  <p:clrMapOvr>
    <a:masterClrMapping/>
  </p:clrMapOvr>
  <p:transition spd="slow">
    <p:push dir="u"/>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42017" y="-29131"/>
            <a:ext cx="12560259" cy="6893977"/>
          </a:xfrm>
          <a:prstGeom prst="rect">
            <a:avLst/>
          </a:prstGeom>
        </p:spPr>
      </p:pic>
      <p:sp>
        <p:nvSpPr>
          <p:cNvPr id="4" name="Text Placeholder 8"/>
          <p:cNvSpPr txBox="1">
            <a:spLocks/>
          </p:cNvSpPr>
          <p:nvPr/>
        </p:nvSpPr>
        <p:spPr>
          <a:xfrm>
            <a:off x="-42017" y="5824026"/>
            <a:ext cx="12560259" cy="914096"/>
          </a:xfrm>
          <a:prstGeom prst="rect">
            <a:avLst/>
          </a:prstGeom>
        </p:spPr>
        <p:txBody>
          <a:bodyPr vert="horz" lIns="91440" tIns="45720" rIns="91440" bIns="45720" rtlCol="0" anchor="ctr"/>
          <a:lstStyle>
            <a:defPPr>
              <a:defRPr lang="en-US"/>
            </a:defPPr>
            <a:lvl1pPr marL="0" algn="ctr" defTabSz="914363" rtl="0" eaLnBrk="1" latinLnBrk="0" hangingPunct="1">
              <a:defRPr sz="1200" kern="1200">
                <a:solidFill>
                  <a:schemeClr val="tx1">
                    <a:tint val="75000"/>
                  </a:schemeClr>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5400" dirty="0">
                <a:solidFill>
                  <a:prstClr val="white"/>
                </a:solidFill>
                <a:latin typeface="Calibri" panose="020F0502020204030204"/>
              </a:rPr>
              <a:t>Flow in action</a:t>
            </a:r>
          </a:p>
        </p:txBody>
      </p:sp>
    </p:spTree>
    <p:extLst>
      <p:ext uri="{BB962C8B-B14F-4D97-AF65-F5344CB8AC3E}">
        <p14:creationId xmlns:p14="http://schemas.microsoft.com/office/powerpoint/2010/main" val="222971421"/>
      </p:ext>
    </p:extLst>
  </p:cSld>
  <p:clrMapOvr>
    <a:masterClrMapping/>
  </p:clrMapOvr>
  <p:transition spd="slow">
    <p:cove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277808" y="4430663"/>
            <a:ext cx="9899527" cy="2385071"/>
            <a:chOff x="1033661" y="4519277"/>
            <a:chExt cx="10100664" cy="2433531"/>
          </a:xfrm>
        </p:grpSpPr>
        <p:pic>
          <p:nvPicPr>
            <p:cNvPr id="4098" name="Picture 2"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65909" y="4519277"/>
              <a:ext cx="7868416" cy="2433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3661" y="5467785"/>
              <a:ext cx="2069976" cy="1017738"/>
            </a:xfrm>
            <a:prstGeom prst="rect">
              <a:avLst/>
            </a:prstGeom>
          </p:spPr>
        </p:pic>
      </p:grpSp>
      <p:sp>
        <p:nvSpPr>
          <p:cNvPr id="13" name="Rectangle 12"/>
          <p:cNvSpPr/>
          <p:nvPr/>
        </p:nvSpPr>
        <p:spPr bwMode="auto">
          <a:xfrm>
            <a:off x="1202039" y="4430664"/>
            <a:ext cx="9787924" cy="715547"/>
          </a:xfrm>
          <a:prstGeom prst="rect">
            <a:avLst/>
          </a:prstGeom>
          <a:solidFill>
            <a:srgbClr val="282828"/>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89615" tIns="134429" rIns="89615" bIns="134429"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451214" indent="-451214" defTabSz="896203">
              <a:lnSpc>
                <a:spcPct val="90000"/>
              </a:lnSpc>
              <a:spcBef>
                <a:spcPct val="20000"/>
              </a:spcBef>
              <a:buSzPct val="90000"/>
              <a:buBlip>
                <a:blip r:embed="rId5"/>
              </a:buBlip>
            </a:pPr>
            <a:endParaRPr lang="en-US" sz="2352" dirty="0">
              <a:gradFill>
                <a:gsLst>
                  <a:gs pos="0">
                    <a:srgbClr val="FFFFFF"/>
                  </a:gs>
                  <a:gs pos="100000">
                    <a:srgbClr val="FFFFFF"/>
                  </a:gs>
                </a:gsLst>
                <a:lin ang="5400000" scaled="0"/>
              </a:gradFill>
              <a:latin typeface="Calibri" panose="020F0502020204030204"/>
            </a:endParaRPr>
          </a:p>
        </p:txBody>
      </p:sp>
      <p:grpSp>
        <p:nvGrpSpPr>
          <p:cNvPr id="4" name="Group 3"/>
          <p:cNvGrpSpPr/>
          <p:nvPr/>
        </p:nvGrpSpPr>
        <p:grpSpPr>
          <a:xfrm>
            <a:off x="3928175" y="1805797"/>
            <a:ext cx="7058182" cy="2630788"/>
            <a:chOff x="507868" y="2417159"/>
            <a:chExt cx="11173090" cy="1958897"/>
          </a:xfrm>
        </p:grpSpPr>
        <p:sp>
          <p:nvSpPr>
            <p:cNvPr id="5" name="Rectangle 4"/>
            <p:cNvSpPr/>
            <p:nvPr/>
          </p:nvSpPr>
          <p:spPr bwMode="auto">
            <a:xfrm>
              <a:off x="507868" y="2417159"/>
              <a:ext cx="11173090" cy="1958897"/>
            </a:xfrm>
            <a:prstGeom prst="rect">
              <a:avLst/>
            </a:prstGeom>
            <a:solidFill>
              <a:schemeClr val="bg2"/>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89615" tIns="134429" rIns="89615" bIns="134429"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451214" indent="-451214" defTabSz="896203">
                <a:lnSpc>
                  <a:spcPct val="90000"/>
                </a:lnSpc>
                <a:spcBef>
                  <a:spcPct val="20000"/>
                </a:spcBef>
                <a:buSzPct val="90000"/>
                <a:buBlip>
                  <a:blip r:embed="rId5"/>
                </a:buBlip>
              </a:pPr>
              <a:endParaRPr lang="en-US" sz="2352" dirty="0">
                <a:gradFill>
                  <a:gsLst>
                    <a:gs pos="0">
                      <a:srgbClr val="FFFFFF"/>
                    </a:gs>
                    <a:gs pos="100000">
                      <a:srgbClr val="FFFFFF"/>
                    </a:gs>
                  </a:gsLst>
                  <a:lin ang="5400000" scaled="0"/>
                </a:gradFill>
                <a:latin typeface="Calibri" panose="020F0502020204030204"/>
              </a:endParaRPr>
            </a:p>
          </p:txBody>
        </p:sp>
        <p:sp>
          <p:nvSpPr>
            <p:cNvPr id="6" name="Rectangle 5"/>
            <p:cNvSpPr/>
            <p:nvPr/>
          </p:nvSpPr>
          <p:spPr>
            <a:xfrm>
              <a:off x="587868" y="2608236"/>
              <a:ext cx="11013088" cy="1199408"/>
            </a:xfrm>
            <a:prstGeom prst="rect">
              <a:avLst/>
            </a:prstGeom>
          </p:spPr>
          <p:txBody>
            <a:bodyPr wrap="square">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843303" lvl="1" indent="-395201" defTabSz="896203">
                <a:lnSpc>
                  <a:spcPct val="90000"/>
                </a:lnSpc>
                <a:spcBef>
                  <a:spcPct val="20000"/>
                </a:spcBef>
                <a:buSzPct val="105000"/>
                <a:buBlip>
                  <a:blip r:embed="rId6"/>
                </a:buBlip>
              </a:pPr>
              <a:r>
                <a:rPr lang="en-US" sz="2352" dirty="0">
                  <a:solidFill>
                    <a:srgbClr val="FFFFFF">
                      <a:alpha val="99000"/>
                    </a:srgbClr>
                  </a:solidFill>
                  <a:latin typeface="Calibri" panose="020F0502020204030204"/>
                </a:rPr>
                <a:t>sandro.pereira@devscope.net</a:t>
              </a:r>
            </a:p>
            <a:p>
              <a:pPr marL="843303" lvl="1" indent="-395201" defTabSz="896203">
                <a:lnSpc>
                  <a:spcPct val="90000"/>
                </a:lnSpc>
                <a:spcBef>
                  <a:spcPct val="20000"/>
                </a:spcBef>
                <a:buSzPct val="105000"/>
                <a:buBlip>
                  <a:blip r:embed="rId6"/>
                </a:buBlip>
              </a:pPr>
              <a:r>
                <a:rPr lang="en-US" sz="2352" noProof="1">
                  <a:solidFill>
                    <a:srgbClr val="FFFFFF">
                      <a:alpha val="99000"/>
                    </a:srgbClr>
                  </a:solidFill>
                  <a:latin typeface="Calibri" panose="020F0502020204030204"/>
                </a:rPr>
                <a:t>linkedin.com/in/sandropereira</a:t>
              </a:r>
            </a:p>
            <a:p>
              <a:pPr marL="843303" lvl="1" indent="-395201" defTabSz="896203">
                <a:lnSpc>
                  <a:spcPct val="90000"/>
                </a:lnSpc>
                <a:spcBef>
                  <a:spcPct val="20000"/>
                </a:spcBef>
                <a:buSzPct val="105000"/>
                <a:buBlip>
                  <a:blip r:embed="rId6"/>
                </a:buBlip>
              </a:pPr>
              <a:r>
                <a:rPr lang="en-US" sz="2352" dirty="0">
                  <a:solidFill>
                    <a:srgbClr val="FFFFFF">
                      <a:alpha val="99000"/>
                    </a:srgbClr>
                  </a:solidFill>
                  <a:latin typeface="Calibri" panose="020F0502020204030204"/>
                </a:rPr>
                <a:t>@sandro_asp </a:t>
              </a:r>
            </a:p>
            <a:p>
              <a:pPr marL="843303" lvl="1" indent="-395201" defTabSz="896203">
                <a:lnSpc>
                  <a:spcPct val="90000"/>
                </a:lnSpc>
                <a:spcBef>
                  <a:spcPct val="20000"/>
                </a:spcBef>
                <a:buSzPct val="105000"/>
                <a:buBlip>
                  <a:blip r:embed="rId6"/>
                </a:buBlip>
              </a:pPr>
              <a:r>
                <a:rPr lang="en-US" sz="2352" dirty="0">
                  <a:solidFill>
                    <a:srgbClr val="FFFFFF">
                      <a:alpha val="99000"/>
                    </a:srgbClr>
                  </a:solidFill>
                  <a:latin typeface="Calibri" panose="020F0502020204030204"/>
                </a:rPr>
                <a:t>sandroaspbiztalkblog.wordpress.com</a:t>
              </a:r>
            </a:p>
          </p:txBody>
        </p:sp>
      </p:grpSp>
      <p:sp>
        <p:nvSpPr>
          <p:cNvPr id="7" name="Title 1"/>
          <p:cNvSpPr>
            <a:spLocks noGrp="1"/>
          </p:cNvSpPr>
          <p:nvPr/>
        </p:nvSpPr>
        <p:spPr>
          <a:xfrm>
            <a:off x="433988" y="361645"/>
            <a:ext cx="3615365" cy="1303119"/>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9409" b="1" dirty="0">
                <a:gradFill flip="none" rotWithShape="1">
                  <a:gsLst>
                    <a:gs pos="0">
                      <a:prstClr val="white"/>
                    </a:gs>
                    <a:gs pos="86000">
                      <a:prstClr val="white"/>
                    </a:gs>
                  </a:gsLst>
                  <a:lin ang="5400000" scaled="0"/>
                  <a:tileRect/>
                </a:gradFill>
                <a:latin typeface="Calibri Light" panose="020F0302020204030204"/>
              </a:rPr>
              <a:t>Thanks</a:t>
            </a:r>
            <a:endParaRPr lang="en-US" sz="4312" dirty="0">
              <a:gradFill flip="none" rotWithShape="1">
                <a:gsLst>
                  <a:gs pos="0">
                    <a:srgbClr val="FFFFFF"/>
                  </a:gs>
                  <a:gs pos="86000">
                    <a:srgbClr val="FFFFFF"/>
                  </a:gs>
                </a:gsLst>
                <a:lin ang="5400000" scaled="0"/>
                <a:tileRect/>
              </a:gradFill>
              <a:latin typeface="Calibri Light" panose="020F0302020204030204"/>
            </a:endParaRPr>
          </a:p>
        </p:txBody>
      </p:sp>
      <p:pic>
        <p:nvPicPr>
          <p:cNvPr id="2" name="Picture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98433" y="1805797"/>
            <a:ext cx="2729742" cy="2630789"/>
          </a:xfrm>
          <a:prstGeom prst="rect">
            <a:avLst/>
          </a:prstGeom>
        </p:spPr>
      </p:pic>
      <p:sp>
        <p:nvSpPr>
          <p:cNvPr id="12" name="Text Placeholder 30"/>
          <p:cNvSpPr txBox="1">
            <a:spLocks/>
          </p:cNvSpPr>
          <p:nvPr/>
        </p:nvSpPr>
        <p:spPr>
          <a:xfrm>
            <a:off x="8495521" y="4487612"/>
            <a:ext cx="2902659" cy="821509"/>
          </a:xfrm>
          <a:prstGeom prst="rect">
            <a:avLst/>
          </a:prstGeom>
        </p:spPr>
        <p:txBody>
          <a:bodyPr/>
          <a:lstStyle>
            <a:defPPr>
              <a:defRPr lang="en-US"/>
            </a:defPPr>
            <a:lvl1pPr marR="0" indent="0" fontAlgn="auto">
              <a:lnSpc>
                <a:spcPct val="90000"/>
              </a:lnSpc>
              <a:spcBef>
                <a:spcPct val="20000"/>
              </a:spcBef>
              <a:spcAft>
                <a:spcPts val="0"/>
              </a:spcAft>
              <a:buClrTx/>
              <a:buSzPct val="90000"/>
              <a:buFont typeface="Arial" pitchFamily="34" charset="0"/>
              <a:buNone/>
              <a:tabLst/>
              <a:defRPr sz="2400" spc="0" baseline="0">
                <a:gradFill>
                  <a:gsLst>
                    <a:gs pos="1250">
                      <a:schemeClr val="tx1"/>
                    </a:gs>
                    <a:gs pos="100000">
                      <a:schemeClr val="tx1"/>
                    </a:gs>
                  </a:gsLst>
                  <a:lin ang="5400000" scaled="0"/>
                </a:gradFill>
                <a:latin typeface="+mj-lt"/>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defTabSz="914363"/>
            <a:r>
              <a:rPr lang="pt-PT" sz="1960" b="1" dirty="0">
                <a:gradFill>
                  <a:gsLst>
                    <a:gs pos="1250">
                      <a:prstClr val="white"/>
                    </a:gs>
                    <a:gs pos="100000">
                      <a:prstClr val="white"/>
                    </a:gs>
                  </a:gsLst>
                  <a:lin ang="5400000" scaled="0"/>
                </a:gradFill>
                <a:latin typeface="Calibri Light" panose="020F0302020204030204"/>
              </a:rPr>
              <a:t>+351 223 751 350</a:t>
            </a:r>
          </a:p>
          <a:p>
            <a:pPr defTabSz="914363"/>
            <a:r>
              <a:rPr lang="pt-PT" sz="1960" b="1" dirty="0">
                <a:gradFill>
                  <a:gsLst>
                    <a:gs pos="1250">
                      <a:prstClr val="white"/>
                    </a:gs>
                    <a:gs pos="100000">
                      <a:prstClr val="white"/>
                    </a:gs>
                  </a:gsLst>
                  <a:lin ang="5400000" scaled="0"/>
                </a:gradFill>
                <a:latin typeface="Calibri Light" panose="020F0302020204030204"/>
              </a:rPr>
              <a:t>www.devscope.net</a:t>
            </a:r>
          </a:p>
        </p:txBody>
      </p:sp>
      <p:pic>
        <p:nvPicPr>
          <p:cNvPr id="14" name="Picture 1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04663" y="4316144"/>
            <a:ext cx="2262392" cy="950511"/>
          </a:xfrm>
          <a:prstGeom prst="rect">
            <a:avLst/>
          </a:prstGeom>
        </p:spPr>
      </p:pic>
    </p:spTree>
    <p:extLst>
      <p:ext uri="{BB962C8B-B14F-4D97-AF65-F5344CB8AC3E}">
        <p14:creationId xmlns:p14="http://schemas.microsoft.com/office/powerpoint/2010/main" val="181827716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drape"/>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357745"/>
            <a:ext cx="12192000" cy="42579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1732990" y="63995"/>
            <a:ext cx="8594652" cy="1200329"/>
          </a:xfrm>
          <a:prstGeom prst="rect">
            <a:avLst/>
          </a:prstGeom>
          <a:noFill/>
        </p:spPr>
        <p:txBody>
          <a:bodyPr wrap="square" rtlCol="0">
            <a:spAutoFit/>
          </a:bodyPr>
          <a:lstStyle/>
          <a:p>
            <a:pPr algn="ctr"/>
            <a:r>
              <a:rPr lang="pt-PT" sz="7200" dirty="0">
                <a:solidFill>
                  <a:schemeClr val="tx1">
                    <a:lumMod val="75000"/>
                    <a:lumOff val="25000"/>
                  </a:schemeClr>
                </a:solidFill>
                <a:latin typeface="Gill Sans MT Condensed" panose="020B0506020104020203" pitchFamily="34" charset="0"/>
              </a:rPr>
              <a:t>THANK YOU TO OUR SPONSORS</a:t>
            </a:r>
          </a:p>
        </p:txBody>
      </p:sp>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31990" y="2172356"/>
            <a:ext cx="3000438" cy="783322"/>
          </a:xfrm>
          <a:prstGeom prst="rect">
            <a:avLst/>
          </a:prstGeom>
        </p:spPr>
      </p:pic>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6558" y="1664017"/>
            <a:ext cx="4893381" cy="1800000"/>
          </a:xfrm>
          <a:prstGeom prst="rect">
            <a:avLst/>
          </a:prstGeom>
        </p:spPr>
      </p:pic>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73672" y="4372311"/>
            <a:ext cx="3441600" cy="720000"/>
          </a:xfrm>
          <a:prstGeom prst="rect">
            <a:avLst/>
          </a:prstGeom>
        </p:spPr>
      </p:pic>
      <p:pic>
        <p:nvPicPr>
          <p:cNvPr id="16" name="Pictur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31990" y="3832311"/>
            <a:ext cx="2550118" cy="1260000"/>
          </a:xfrm>
          <a:prstGeom prst="rect">
            <a:avLst/>
          </a:prstGeom>
        </p:spPr>
      </p:pic>
      <p:pic>
        <p:nvPicPr>
          <p:cNvPr id="19" name="Picture 1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126009" y="5781675"/>
            <a:ext cx="1088709" cy="1080000"/>
          </a:xfrm>
          <a:prstGeom prst="rect">
            <a:avLst/>
          </a:prstGeom>
        </p:spPr>
      </p:pic>
    </p:spTree>
    <p:extLst>
      <p:ext uri="{BB962C8B-B14F-4D97-AF65-F5344CB8AC3E}">
        <p14:creationId xmlns:p14="http://schemas.microsoft.com/office/powerpoint/2010/main" val="2748532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520702" y="229440"/>
            <a:ext cx="11149013" cy="1079409"/>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93"/>
            <a:r>
              <a:rPr lang="en-US" sz="4800" dirty="0">
                <a:gradFill>
                  <a:gsLst>
                    <a:gs pos="1250">
                      <a:srgbClr val="FFFFFF"/>
                    </a:gs>
                    <a:gs pos="100000">
                      <a:srgbClr val="FFFFFF"/>
                    </a:gs>
                  </a:gsLst>
                  <a:lin ang="5400000" scaled="0"/>
                </a:gradFill>
                <a:latin typeface="Segoe UI Light"/>
              </a:rPr>
              <a:t>Business Application Platform Innovation</a:t>
            </a:r>
            <a:endParaRPr lang="en-US" sz="5292" dirty="0">
              <a:gradFill>
                <a:gsLst>
                  <a:gs pos="1250">
                    <a:srgbClr val="FFFFFF"/>
                  </a:gs>
                  <a:gs pos="100000">
                    <a:srgbClr val="FFFFFF"/>
                  </a:gs>
                </a:gsLst>
                <a:lin ang="5400000" scaled="0"/>
              </a:gradFill>
              <a:latin typeface="Segoe UI Light"/>
            </a:endParaRPr>
          </a:p>
        </p:txBody>
      </p:sp>
      <p:sp>
        <p:nvSpPr>
          <p:cNvPr id="3" name="Text Placeholder 2"/>
          <p:cNvSpPr txBox="1">
            <a:spLocks/>
          </p:cNvSpPr>
          <p:nvPr/>
        </p:nvSpPr>
        <p:spPr>
          <a:xfrm>
            <a:off x="716205" y="3051056"/>
            <a:ext cx="6987796" cy="3093106"/>
          </a:xfrm>
          <a:prstGeom prst="rect">
            <a:avLst/>
          </a:prstGeom>
        </p:spPr>
        <p:txBody>
          <a:bodyPr vert="horz" wrap="square" lIns="146266" tIns="91416" rIns="146266" bIns="91416"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48059" indent="-432000" defTabSz="914126">
              <a:lnSpc>
                <a:spcPct val="150000"/>
              </a:lnSpc>
              <a:spcBef>
                <a:spcPts val="0"/>
              </a:spcBef>
              <a:buFont typeface="Wingdings" panose="05000000000000000000" pitchFamily="2" charset="2"/>
              <a:buChar char="à"/>
            </a:pPr>
            <a:r>
              <a:rPr lang="en-US" sz="1800" dirty="0">
                <a:solidFill>
                  <a:srgbClr val="FFFFFF"/>
                </a:solidFill>
                <a:latin typeface="Segoe UI Light"/>
                <a:ea typeface="Calibri" panose="020F0502020204030204" pitchFamily="34" charset="0"/>
                <a:cs typeface="Times New Roman" panose="02020603050405020304" pitchFamily="18" charset="0"/>
              </a:rPr>
              <a:t>Innovate faster </a:t>
            </a:r>
          </a:p>
          <a:p>
            <a:pPr marL="448059" indent="-432000" defTabSz="914126">
              <a:lnSpc>
                <a:spcPct val="150000"/>
              </a:lnSpc>
              <a:spcBef>
                <a:spcPts val="0"/>
              </a:spcBef>
              <a:buFont typeface="Wingdings" panose="05000000000000000000" pitchFamily="2" charset="2"/>
              <a:buChar char="à"/>
            </a:pPr>
            <a:r>
              <a:rPr lang="en-US" sz="1800" dirty="0">
                <a:solidFill>
                  <a:srgbClr val="FFFFFF"/>
                </a:solidFill>
                <a:latin typeface="Segoe UI Light"/>
                <a:ea typeface="Calibri" panose="020F0502020204030204" pitchFamily="34" charset="0"/>
                <a:cs typeface="Times New Roman" panose="02020603050405020304" pitchFamily="18" charset="0"/>
              </a:rPr>
              <a:t>Power users build “no code” solutions</a:t>
            </a:r>
          </a:p>
          <a:p>
            <a:pPr marL="448059" indent="-432000" defTabSz="914126">
              <a:lnSpc>
                <a:spcPct val="150000"/>
              </a:lnSpc>
              <a:spcBef>
                <a:spcPts val="0"/>
              </a:spcBef>
              <a:buFont typeface="Wingdings" panose="05000000000000000000" pitchFamily="2" charset="2"/>
              <a:buChar char="à"/>
            </a:pPr>
            <a:r>
              <a:rPr lang="en-US" sz="1800" dirty="0">
                <a:solidFill>
                  <a:srgbClr val="FFFFFF"/>
                </a:solidFill>
                <a:latin typeface="Segoe UI Light"/>
                <a:ea typeface="Calibri" panose="020F0502020204030204" pitchFamily="34" charset="0"/>
                <a:cs typeface="Times New Roman" panose="02020603050405020304" pitchFamily="18" charset="0"/>
              </a:rPr>
              <a:t>Enterprise Developers and IT pros can now easily extend capabilities for power users.</a:t>
            </a:r>
          </a:p>
          <a:p>
            <a:pPr marL="448059" indent="-432000" defTabSz="914126">
              <a:lnSpc>
                <a:spcPct val="150000"/>
              </a:lnSpc>
              <a:spcBef>
                <a:spcPts val="0"/>
              </a:spcBef>
              <a:buFont typeface="Wingdings" panose="05000000000000000000" pitchFamily="2" charset="2"/>
              <a:buChar char="à"/>
            </a:pPr>
            <a:r>
              <a:rPr lang="en-US" sz="1800" dirty="0">
                <a:solidFill>
                  <a:srgbClr val="FFFFFF"/>
                </a:solidFill>
                <a:latin typeface="Segoe UI Light"/>
                <a:ea typeface="Calibri" panose="020F0502020204030204" pitchFamily="34" charset="0"/>
                <a:cs typeface="Times New Roman" panose="02020603050405020304" pitchFamily="18" charset="0"/>
              </a:rPr>
              <a:t>Take advantage of Rich platform services with power of Azure</a:t>
            </a:r>
          </a:p>
          <a:p>
            <a:pPr marL="448059" indent="-432000" defTabSz="914126">
              <a:lnSpc>
                <a:spcPct val="150000"/>
              </a:lnSpc>
              <a:spcBef>
                <a:spcPts val="0"/>
              </a:spcBef>
              <a:buFont typeface="Wingdings" panose="05000000000000000000" pitchFamily="2" charset="2"/>
              <a:buChar char="à"/>
            </a:pPr>
            <a:r>
              <a:rPr lang="en-US" sz="1800" dirty="0">
                <a:solidFill>
                  <a:srgbClr val="FFFFFF"/>
                </a:solidFill>
                <a:latin typeface="Segoe UI Light"/>
                <a:ea typeface="Calibri" panose="020F0502020204030204" pitchFamily="34" charset="0"/>
                <a:cs typeface="Times New Roman" panose="02020603050405020304" pitchFamily="18" charset="0"/>
              </a:rPr>
              <a:t>Connects to everywhere, securely</a:t>
            </a:r>
          </a:p>
          <a:p>
            <a:pPr marL="448059" indent="-432000" defTabSz="914126">
              <a:lnSpc>
                <a:spcPct val="150000"/>
              </a:lnSpc>
              <a:spcBef>
                <a:spcPts val="0"/>
              </a:spcBef>
              <a:buFont typeface="Wingdings" panose="05000000000000000000" pitchFamily="2" charset="2"/>
              <a:buChar char="à"/>
            </a:pPr>
            <a:r>
              <a:rPr lang="en-US" sz="1800" dirty="0">
                <a:solidFill>
                  <a:srgbClr val="FFFFFF"/>
                </a:solidFill>
                <a:latin typeface="Segoe UI Light"/>
                <a:ea typeface="Calibri" panose="020F0502020204030204" pitchFamily="34" charset="0"/>
                <a:cs typeface="Times New Roman" panose="02020603050405020304" pitchFamily="18" charset="0"/>
              </a:rPr>
              <a:t>It works on all devices, Easy to deploy and test</a:t>
            </a:r>
          </a:p>
        </p:txBody>
      </p:sp>
      <p:pic>
        <p:nvPicPr>
          <p:cNvPr id="8" name="Picture 2" descr="https://businessplatform.microsoft.com/images/pages/innovate-faster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04000" y="1139687"/>
            <a:ext cx="4137370" cy="518822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9261702" y="3018972"/>
            <a:ext cx="2408012" cy="740228"/>
          </a:xfrm>
          <a:prstGeom prst="rect">
            <a:avLst/>
          </a:prstGeom>
          <a:noFill/>
          <a:ln w="28575">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pt-PT"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Rectangle 9"/>
          <p:cNvSpPr/>
          <p:nvPr/>
        </p:nvSpPr>
        <p:spPr bwMode="auto">
          <a:xfrm>
            <a:off x="9782401" y="5469324"/>
            <a:ext cx="1366158" cy="913136"/>
          </a:xfrm>
          <a:prstGeom prst="rect">
            <a:avLst/>
          </a:prstGeom>
          <a:noFill/>
          <a:ln w="28575">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pt-PT"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Rectangle 11"/>
          <p:cNvSpPr/>
          <p:nvPr/>
        </p:nvSpPr>
        <p:spPr bwMode="auto">
          <a:xfrm>
            <a:off x="7969929" y="4136572"/>
            <a:ext cx="3801383" cy="740228"/>
          </a:xfrm>
          <a:prstGeom prst="rect">
            <a:avLst/>
          </a:prstGeom>
          <a:noFill/>
          <a:ln w="28575">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pt-PT"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Rectangle 10"/>
          <p:cNvSpPr/>
          <p:nvPr/>
        </p:nvSpPr>
        <p:spPr>
          <a:xfrm>
            <a:off x="1589" y="6494587"/>
            <a:ext cx="12188825" cy="369332"/>
          </a:xfrm>
          <a:prstGeom prst="rect">
            <a:avLst/>
          </a:prstGeom>
        </p:spPr>
        <p:txBody>
          <a:bodyPr wrap="square">
            <a:spAutoFit/>
          </a:bodyPr>
          <a:lstStyle/>
          <a:p>
            <a:pPr algn="ctr" defTabSz="914126">
              <a:spcAft>
                <a:spcPts val="1764"/>
              </a:spcAft>
            </a:pPr>
            <a:r>
              <a:rPr lang="en-US" dirty="0">
                <a:solidFill>
                  <a:srgbClr val="FFFFFF"/>
                </a:solidFill>
                <a:latin typeface="Segoe UI"/>
                <a:ea typeface="Calibri" panose="020F0502020204030204" pitchFamily="34" charset="0"/>
                <a:cs typeface="Times New Roman" panose="02020603050405020304" pitchFamily="18" charset="0"/>
              </a:rPr>
              <a:t>https://powerusers.microsoft.com/                      https://businessplatform.microsoft.com/en-us/</a:t>
            </a:r>
          </a:p>
        </p:txBody>
      </p:sp>
      <p:sp>
        <p:nvSpPr>
          <p:cNvPr id="4" name="Rectangle 3"/>
          <p:cNvSpPr/>
          <p:nvPr/>
        </p:nvSpPr>
        <p:spPr>
          <a:xfrm>
            <a:off x="809972" y="1139687"/>
            <a:ext cx="6722373" cy="1815882"/>
          </a:xfrm>
          <a:prstGeom prst="rect">
            <a:avLst/>
          </a:prstGeom>
        </p:spPr>
        <p:txBody>
          <a:bodyPr wrap="square">
            <a:spAutoFit/>
          </a:bodyPr>
          <a:lstStyle/>
          <a:p>
            <a:pPr defTabSz="914363"/>
            <a:r>
              <a:rPr lang="en-US" sz="2800" b="1" dirty="0">
                <a:solidFill>
                  <a:srgbClr val="FFFFFF"/>
                </a:solidFill>
                <a:latin typeface="Segoe UI Condensed"/>
              </a:rPr>
              <a:t>Power users</a:t>
            </a:r>
            <a:r>
              <a:rPr lang="en-US" sz="2800" dirty="0">
                <a:solidFill>
                  <a:srgbClr val="FFFFFF"/>
                </a:solidFill>
                <a:latin typeface="Segoe UI Condensed"/>
              </a:rPr>
              <a:t> who understand their business challenges the best can now quickly build and deliver solutions without writing code.</a:t>
            </a:r>
            <a:endParaRPr lang="pt-PT" sz="2800" dirty="0">
              <a:solidFill>
                <a:srgbClr val="FFFFFF"/>
              </a:solidFill>
              <a:latin typeface="Segoe UI"/>
            </a:endParaRPr>
          </a:p>
        </p:txBody>
      </p:sp>
    </p:spTree>
    <p:extLst>
      <p:ext uri="{BB962C8B-B14F-4D97-AF65-F5344CB8AC3E}">
        <p14:creationId xmlns:p14="http://schemas.microsoft.com/office/powerpoint/2010/main" val="3246323803"/>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Box 37"/>
          <p:cNvSpPr txBox="1"/>
          <p:nvPr/>
        </p:nvSpPr>
        <p:spPr>
          <a:xfrm>
            <a:off x="1478312" y="562015"/>
            <a:ext cx="9411179" cy="1231122"/>
          </a:xfrm>
          <a:prstGeom prst="rect">
            <a:avLst/>
          </a:prstGeom>
          <a:noFill/>
        </p:spPr>
        <p:txBody>
          <a:bodyPr wrap="square" lIns="179238" tIns="143391" rIns="179238" bIns="143391" rtlCol="0">
            <a:spAutoFit/>
          </a:bodyPr>
          <a:lstStyle/>
          <a:p>
            <a:pPr algn="ctr" defTabSz="914126">
              <a:lnSpc>
                <a:spcPct val="90000"/>
              </a:lnSpc>
              <a:spcAft>
                <a:spcPts val="588"/>
              </a:spcAft>
            </a:pPr>
            <a:r>
              <a:rPr lang="en-US" sz="3399" dirty="0">
                <a:solidFill>
                  <a:prstClr val="black"/>
                </a:solidFill>
                <a:latin typeface="Segoe UI Light" panose="020B0502040204020203" pitchFamily="34" charset="0"/>
                <a:cs typeface="Segoe UI Light" panose="020B0502040204020203" pitchFamily="34" charset="0"/>
              </a:rPr>
              <a:t>Businesses need to deliver apps in a way that stays </a:t>
            </a:r>
            <a:r>
              <a:rPr lang="en-US" sz="3399" b="1" u="sng" dirty="0">
                <a:solidFill>
                  <a:prstClr val="black"/>
                </a:solidFill>
                <a:latin typeface="Segoe UI Light" panose="020B0502040204020203" pitchFamily="34" charset="0"/>
                <a:cs typeface="Segoe UI Light" panose="020B0502040204020203" pitchFamily="34" charset="0"/>
              </a:rPr>
              <a:t>extensible, connected, secure and fast</a:t>
            </a:r>
          </a:p>
        </p:txBody>
      </p:sp>
      <p:grpSp>
        <p:nvGrpSpPr>
          <p:cNvPr id="17" name="Group 16"/>
          <p:cNvGrpSpPr/>
          <p:nvPr/>
        </p:nvGrpSpPr>
        <p:grpSpPr>
          <a:xfrm>
            <a:off x="3082967" y="1793137"/>
            <a:ext cx="6107120" cy="4091211"/>
            <a:chOff x="3674612" y="1831775"/>
            <a:chExt cx="4859789" cy="3255613"/>
          </a:xfrm>
        </p:grpSpPr>
        <p:sp>
          <p:nvSpPr>
            <p:cNvPr id="14" name="Title 1"/>
            <p:cNvSpPr txBox="1">
              <a:spLocks/>
            </p:cNvSpPr>
            <p:nvPr/>
          </p:nvSpPr>
          <p:spPr>
            <a:xfrm>
              <a:off x="3674613" y="4203567"/>
              <a:ext cx="4859788" cy="719473"/>
            </a:xfrm>
            <a:prstGeom prst="rect">
              <a:avLst/>
            </a:prstGeom>
            <a:solidFill>
              <a:schemeClr val="tx1">
                <a:lumMod val="20000"/>
                <a:lumOff val="80000"/>
              </a:schemeClr>
            </a:solidFill>
          </p:spPr>
          <p:txBody>
            <a:bodyPr vert="horz" wrap="square" lIns="143391" tIns="89619" rIns="143391" bIns="89619" rtlCol="0" anchor="ctr">
              <a:normAutofit/>
            </a:bodyPr>
            <a:lstStyle>
              <a:lvl1pPr algn="l" defTabSz="932742" rtl="0" eaLnBrk="1" latinLnBrk="0" hangingPunct="1">
                <a:lnSpc>
                  <a:spcPct val="90000"/>
                </a:lnSpc>
                <a:spcBef>
                  <a:spcPct val="0"/>
                </a:spcBef>
                <a:buNone/>
                <a:defRPr lang="en-US" sz="4896"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462"/>
              <a:endParaRPr lang="en-US" sz="3199" dirty="0">
                <a:solidFill>
                  <a:srgbClr val="E7E6E6">
                    <a:lumMod val="10000"/>
                  </a:srgbClr>
                </a:solidFill>
                <a:latin typeface="Segoe UI Semilight" panose="020B0402040204020203" pitchFamily="34" charset="0"/>
                <a:cs typeface="Segoe UI Semilight" panose="020B0402040204020203" pitchFamily="34" charset="0"/>
              </a:endParaRPr>
            </a:p>
          </p:txBody>
        </p:sp>
        <p:grpSp>
          <p:nvGrpSpPr>
            <p:cNvPr id="20" name="Group 19"/>
            <p:cNvGrpSpPr/>
            <p:nvPr/>
          </p:nvGrpSpPr>
          <p:grpSpPr>
            <a:xfrm>
              <a:off x="3830037" y="4773639"/>
              <a:ext cx="4531924" cy="313749"/>
              <a:chOff x="3906837" y="4868862"/>
              <a:chExt cx="4622800" cy="320040"/>
            </a:xfrm>
          </p:grpSpPr>
          <p:sp>
            <p:nvSpPr>
              <p:cNvPr id="45" name="Hexagon 44"/>
              <p:cNvSpPr/>
              <p:nvPr/>
            </p:nvSpPr>
            <p:spPr bwMode="auto">
              <a:xfrm rot="5400000">
                <a:off x="3883977" y="4891722"/>
                <a:ext cx="320040" cy="274320"/>
              </a:xfrm>
              <a:prstGeom prst="hexagon">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3199"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46" name="Hexagon 45"/>
              <p:cNvSpPr/>
              <p:nvPr/>
            </p:nvSpPr>
            <p:spPr bwMode="auto">
              <a:xfrm rot="5400000">
                <a:off x="4427537" y="4891722"/>
                <a:ext cx="320040" cy="274320"/>
              </a:xfrm>
              <a:prstGeom prst="hexagon">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3199"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48" name="Hexagon 47"/>
              <p:cNvSpPr/>
              <p:nvPr/>
            </p:nvSpPr>
            <p:spPr bwMode="auto">
              <a:xfrm rot="5400000">
                <a:off x="4971097" y="4891722"/>
                <a:ext cx="320040" cy="274320"/>
              </a:xfrm>
              <a:prstGeom prst="hexagon">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3199"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50" name="Hexagon 49"/>
              <p:cNvSpPr/>
              <p:nvPr/>
            </p:nvSpPr>
            <p:spPr bwMode="auto">
              <a:xfrm rot="5400000">
                <a:off x="5514657" y="4891722"/>
                <a:ext cx="320040" cy="274320"/>
              </a:xfrm>
              <a:prstGeom prst="hexagon">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3199"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51" name="Hexagon 50"/>
              <p:cNvSpPr/>
              <p:nvPr/>
            </p:nvSpPr>
            <p:spPr bwMode="auto">
              <a:xfrm rot="5400000">
                <a:off x="6058217" y="4891722"/>
                <a:ext cx="320040" cy="274320"/>
              </a:xfrm>
              <a:prstGeom prst="hexagon">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3199"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52" name="Hexagon 51"/>
              <p:cNvSpPr/>
              <p:nvPr/>
            </p:nvSpPr>
            <p:spPr bwMode="auto">
              <a:xfrm rot="5400000">
                <a:off x="6601777" y="4891722"/>
                <a:ext cx="320040" cy="274320"/>
              </a:xfrm>
              <a:prstGeom prst="hexagon">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3199"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53" name="Hexagon 52"/>
              <p:cNvSpPr/>
              <p:nvPr/>
            </p:nvSpPr>
            <p:spPr bwMode="auto">
              <a:xfrm rot="5400000">
                <a:off x="7145337" y="4891722"/>
                <a:ext cx="320040" cy="274320"/>
              </a:xfrm>
              <a:prstGeom prst="hexagon">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3199"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57" name="Hexagon 56"/>
              <p:cNvSpPr/>
              <p:nvPr/>
            </p:nvSpPr>
            <p:spPr bwMode="auto">
              <a:xfrm rot="5400000">
                <a:off x="7688897" y="4891722"/>
                <a:ext cx="320040" cy="274320"/>
              </a:xfrm>
              <a:prstGeom prst="hexagon">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3199"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60" name="Hexagon 59"/>
              <p:cNvSpPr/>
              <p:nvPr/>
            </p:nvSpPr>
            <p:spPr bwMode="auto">
              <a:xfrm rot="5400000">
                <a:off x="8232457" y="4891722"/>
                <a:ext cx="320040" cy="274320"/>
              </a:xfrm>
              <a:prstGeom prst="hexagon">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3199"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sp>
          <p:nvSpPr>
            <p:cNvPr id="5" name="Title 1"/>
            <p:cNvSpPr txBox="1">
              <a:spLocks/>
            </p:cNvSpPr>
            <p:nvPr/>
          </p:nvSpPr>
          <p:spPr>
            <a:xfrm>
              <a:off x="6338985" y="2352090"/>
              <a:ext cx="1914454" cy="1163455"/>
            </a:xfrm>
            <a:prstGeom prst="rect">
              <a:avLst/>
            </a:prstGeom>
            <a:solidFill>
              <a:srgbClr val="4F81BD"/>
            </a:solidFill>
          </p:spPr>
          <p:txBody>
            <a:bodyPr vert="horz" lIns="91403" tIns="45701" rIns="91403" bIns="45701" rtlCol="0" anchor="ctr">
              <a:normAutofit/>
            </a:bodyPr>
            <a:lstStyle>
              <a:lvl1pPr algn="l" defTabSz="914400" rtl="0" eaLnBrk="1" latinLnBrk="0" hangingPunct="1">
                <a:lnSpc>
                  <a:spcPct val="90000"/>
                </a:lnSpc>
                <a:spcBef>
                  <a:spcPct val="0"/>
                </a:spcBef>
                <a:buNone/>
                <a:defRPr sz="4800" kern="1200">
                  <a:solidFill>
                    <a:schemeClr val="tx1"/>
                  </a:solidFill>
                  <a:latin typeface="Segoe UI Light" panose="020B0502040204020203" pitchFamily="34" charset="0"/>
                  <a:ea typeface="+mj-ea"/>
                  <a:cs typeface="Segoe UI Light" panose="020B0502040204020203" pitchFamily="34" charset="0"/>
                </a:defRPr>
              </a:lvl1pPr>
            </a:lstStyle>
            <a:p>
              <a:pPr defTabSz="914126"/>
              <a:r>
                <a:rPr lang="en-US" sz="1799" b="1" dirty="0">
                  <a:solidFill>
                    <a:srgbClr val="E7E6E6">
                      <a:lumMod val="10000"/>
                    </a:srgbClr>
                  </a:solidFill>
                  <a:latin typeface="Calibri" panose="020F0502020204030204"/>
                  <a:cs typeface="Segoe UI Semilight" panose="020B0402040204020203" pitchFamily="34" charset="0"/>
                </a:rPr>
                <a:t>   </a:t>
              </a:r>
              <a:r>
                <a:rPr lang="en-US" sz="1799" b="1" dirty="0">
                  <a:solidFill>
                    <a:prstClr val="white"/>
                  </a:solidFill>
                  <a:latin typeface="Calibri" panose="020F0502020204030204"/>
                  <a:cs typeface="Segoe UI Semilight" panose="020B0402040204020203" pitchFamily="34" charset="0"/>
                </a:rPr>
                <a:t>AUTOMATE</a:t>
              </a:r>
            </a:p>
            <a:p>
              <a:pPr defTabSz="914126"/>
              <a:br>
                <a:rPr lang="en-US" sz="700" dirty="0">
                  <a:solidFill>
                    <a:prstClr val="white"/>
                  </a:solidFill>
                  <a:latin typeface="Calibri" panose="020F0502020204030204"/>
                  <a:cs typeface="Segoe UI Semilight" panose="020B0402040204020203" pitchFamily="34" charset="0"/>
                </a:rPr>
              </a:br>
              <a:r>
                <a:rPr lang="en-US" sz="700" dirty="0">
                  <a:solidFill>
                    <a:prstClr val="white"/>
                  </a:solidFill>
                  <a:latin typeface="Calibri" panose="020F0502020204030204"/>
                  <a:cs typeface="Segoe UI Semilight" panose="020B0402040204020203" pitchFamily="34" charset="0"/>
                </a:rPr>
                <a:t>      </a:t>
              </a:r>
              <a:r>
                <a:rPr lang="en-US" sz="3199" dirty="0">
                  <a:solidFill>
                    <a:prstClr val="white"/>
                  </a:solidFill>
                  <a:latin typeface="Calibri" panose="020F0502020204030204"/>
                  <a:cs typeface="Segoe UI Semilight" panose="020B0402040204020203" pitchFamily="34" charset="0"/>
                </a:rPr>
                <a:t>Flow</a:t>
              </a:r>
            </a:p>
          </p:txBody>
        </p:sp>
        <p:sp>
          <p:nvSpPr>
            <p:cNvPr id="6" name="Title 1"/>
            <p:cNvSpPr txBox="1">
              <a:spLocks/>
            </p:cNvSpPr>
            <p:nvPr/>
          </p:nvSpPr>
          <p:spPr>
            <a:xfrm>
              <a:off x="4047082" y="2352090"/>
              <a:ext cx="1914454" cy="1163455"/>
            </a:xfrm>
            <a:prstGeom prst="rect">
              <a:avLst/>
            </a:prstGeom>
            <a:solidFill>
              <a:srgbClr val="992165"/>
            </a:solidFill>
          </p:spPr>
          <p:txBody>
            <a:bodyPr vert="horz" lIns="91403" tIns="45701" rIns="91403" bIns="45701" rtlCol="0" anchor="ctr">
              <a:noAutofit/>
            </a:bodyPr>
            <a:lstStyle>
              <a:lvl1pPr algn="l" defTabSz="914400" rtl="0" eaLnBrk="1" latinLnBrk="0" hangingPunct="1">
                <a:lnSpc>
                  <a:spcPct val="90000"/>
                </a:lnSpc>
                <a:spcBef>
                  <a:spcPct val="0"/>
                </a:spcBef>
                <a:buNone/>
                <a:defRPr sz="4800" kern="1200">
                  <a:solidFill>
                    <a:schemeClr val="tx1"/>
                  </a:solidFill>
                  <a:latin typeface="Segoe UI Light" panose="020B0502040204020203" pitchFamily="34" charset="0"/>
                  <a:ea typeface="+mj-ea"/>
                  <a:cs typeface="Segoe UI Light" panose="020B0502040204020203" pitchFamily="34" charset="0"/>
                </a:defRPr>
              </a:lvl1pPr>
            </a:lstStyle>
            <a:p>
              <a:pPr algn="ctr" defTabSz="914126"/>
              <a:r>
                <a:rPr lang="en-US" sz="1799" b="1" dirty="0">
                  <a:solidFill>
                    <a:srgbClr val="E7E6E6">
                      <a:lumMod val="10000"/>
                    </a:srgbClr>
                  </a:solidFill>
                  <a:latin typeface="Calibri" panose="020F0502020204030204"/>
                  <a:cs typeface="Segoe UI Semilight" panose="020B0402040204020203" pitchFamily="34" charset="0"/>
                </a:rPr>
                <a:t>                            </a:t>
              </a:r>
              <a:r>
                <a:rPr lang="en-US" sz="1799" b="1" dirty="0">
                  <a:solidFill>
                    <a:prstClr val="white"/>
                  </a:solidFill>
                  <a:latin typeface="Calibri" panose="020F0502020204030204"/>
                  <a:cs typeface="Segoe UI Semilight" panose="020B0402040204020203" pitchFamily="34" charset="0"/>
                </a:rPr>
                <a:t>ACT</a:t>
              </a:r>
            </a:p>
            <a:p>
              <a:pPr algn="ctr" defTabSz="914126"/>
              <a:br>
                <a:rPr lang="en-US" sz="700" dirty="0">
                  <a:solidFill>
                    <a:prstClr val="white"/>
                  </a:solidFill>
                  <a:latin typeface="Calibri" panose="020F0502020204030204"/>
                  <a:cs typeface="Segoe UI Semilight" panose="020B0402040204020203" pitchFamily="34" charset="0"/>
                </a:rPr>
              </a:br>
              <a:r>
                <a:rPr lang="en-US" sz="3199" dirty="0" err="1">
                  <a:solidFill>
                    <a:prstClr val="white"/>
                  </a:solidFill>
                  <a:latin typeface="Calibri" panose="020F0502020204030204"/>
                  <a:cs typeface="Segoe UI Semilight" panose="020B0402040204020203" pitchFamily="34" charset="0"/>
                </a:rPr>
                <a:t>PowerApps</a:t>
              </a:r>
              <a:endParaRPr lang="en-US" sz="3199" dirty="0">
                <a:solidFill>
                  <a:prstClr val="white"/>
                </a:solidFill>
                <a:latin typeface="Calibri" panose="020F0502020204030204"/>
                <a:cs typeface="Segoe UI Semilight" panose="020B0402040204020203" pitchFamily="34" charset="0"/>
              </a:endParaRPr>
            </a:p>
          </p:txBody>
        </p:sp>
        <p:grpSp>
          <p:nvGrpSpPr>
            <p:cNvPr id="22" name="Group 21"/>
            <p:cNvGrpSpPr/>
            <p:nvPr/>
          </p:nvGrpSpPr>
          <p:grpSpPr>
            <a:xfrm>
              <a:off x="4704325" y="3429001"/>
              <a:ext cx="562658" cy="774567"/>
              <a:chOff x="5912244" y="3497262"/>
              <a:chExt cx="573941" cy="790099"/>
            </a:xfrm>
          </p:grpSpPr>
          <p:sp>
            <p:nvSpPr>
              <p:cNvPr id="8" name="Up Arrow 7"/>
              <p:cNvSpPr/>
              <p:nvPr/>
            </p:nvSpPr>
            <p:spPr>
              <a:xfrm>
                <a:off x="5912244" y="3585542"/>
                <a:ext cx="264936" cy="701819"/>
              </a:xfrm>
              <a:prstGeom prst="upArrow">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14126"/>
                <a:endParaRPr lang="en-US" sz="3199" dirty="0">
                  <a:solidFill>
                    <a:prstClr val="white"/>
                  </a:solidFill>
                  <a:latin typeface="Calibri" panose="020F0502020204030204"/>
                </a:endParaRPr>
              </a:p>
            </p:txBody>
          </p:sp>
          <p:sp>
            <p:nvSpPr>
              <p:cNvPr id="9" name="Up Arrow 8"/>
              <p:cNvSpPr/>
              <p:nvPr/>
            </p:nvSpPr>
            <p:spPr>
              <a:xfrm rot="10800000">
                <a:off x="6168212" y="3497262"/>
                <a:ext cx="317973" cy="790099"/>
              </a:xfrm>
              <a:prstGeom prst="upArrow">
                <a:avLst/>
              </a:prstGeom>
              <a:solidFill>
                <a:srgbClr val="99216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14126"/>
                <a:endParaRPr lang="en-US" sz="3199" dirty="0">
                  <a:solidFill>
                    <a:prstClr val="white"/>
                  </a:solidFill>
                  <a:latin typeface="Calibri" panose="020F0502020204030204"/>
                </a:endParaRPr>
              </a:p>
            </p:txBody>
          </p:sp>
        </p:grpSp>
        <p:grpSp>
          <p:nvGrpSpPr>
            <p:cNvPr id="23" name="Group 22"/>
            <p:cNvGrpSpPr/>
            <p:nvPr/>
          </p:nvGrpSpPr>
          <p:grpSpPr>
            <a:xfrm>
              <a:off x="6995535" y="3510995"/>
              <a:ext cx="562659" cy="692572"/>
              <a:chOff x="8216594" y="3580901"/>
              <a:chExt cx="573942" cy="706460"/>
            </a:xfrm>
          </p:grpSpPr>
          <p:sp>
            <p:nvSpPr>
              <p:cNvPr id="10" name="Up Arrow 9"/>
              <p:cNvSpPr/>
              <p:nvPr/>
            </p:nvSpPr>
            <p:spPr>
              <a:xfrm>
                <a:off x="8216594" y="3580901"/>
                <a:ext cx="279667" cy="706460"/>
              </a:xfrm>
              <a:prstGeom prst="upArrow">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14126"/>
                <a:endParaRPr lang="en-US" sz="3199" dirty="0">
                  <a:solidFill>
                    <a:prstClr val="white"/>
                  </a:solidFill>
                  <a:latin typeface="Calibri" panose="020F0502020204030204"/>
                </a:endParaRPr>
              </a:p>
            </p:txBody>
          </p:sp>
          <p:sp>
            <p:nvSpPr>
              <p:cNvPr id="11" name="Up Arrow 10"/>
              <p:cNvSpPr/>
              <p:nvPr/>
            </p:nvSpPr>
            <p:spPr>
              <a:xfrm rot="10800000">
                <a:off x="8496261" y="3585542"/>
                <a:ext cx="294275" cy="701819"/>
              </a:xfrm>
              <a:prstGeom prst="upArrow">
                <a:avLst/>
              </a:prstGeom>
              <a:solidFill>
                <a:srgbClr val="4F81B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14126"/>
                <a:endParaRPr lang="en-US" sz="3199" dirty="0">
                  <a:solidFill>
                    <a:prstClr val="white"/>
                  </a:solidFill>
                  <a:latin typeface="Calibri" panose="020F0502020204030204"/>
                </a:endParaRPr>
              </a:p>
            </p:txBody>
          </p:sp>
        </p:grpSp>
        <p:sp>
          <p:nvSpPr>
            <p:cNvPr id="47" name="Title 1"/>
            <p:cNvSpPr txBox="1">
              <a:spLocks/>
            </p:cNvSpPr>
            <p:nvPr/>
          </p:nvSpPr>
          <p:spPr>
            <a:xfrm>
              <a:off x="3674612" y="4370192"/>
              <a:ext cx="4859789" cy="386222"/>
            </a:xfrm>
            <a:prstGeom prst="rect">
              <a:avLst/>
            </a:prstGeom>
            <a:noFill/>
          </p:spPr>
          <p:txBody>
            <a:bodyPr vert="horz" wrap="square" lIns="143391" tIns="89619" rIns="143391" bIns="89619" rtlCol="0" anchor="ctr">
              <a:noAutofit/>
            </a:bodyPr>
            <a:lstStyle>
              <a:lvl1pPr algn="l" defTabSz="932742" rtl="0" eaLnBrk="1" latinLnBrk="0" hangingPunct="1">
                <a:lnSpc>
                  <a:spcPct val="90000"/>
                </a:lnSpc>
                <a:spcBef>
                  <a:spcPct val="0"/>
                </a:spcBef>
                <a:buNone/>
                <a:defRPr lang="en-US" sz="4896"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462"/>
              <a:r>
                <a:rPr lang="en-US" sz="2399" dirty="0">
                  <a:solidFill>
                    <a:srgbClr val="00B294"/>
                  </a:solidFill>
                  <a:latin typeface="Segoe UI Semibold" panose="020B0702040204020203" pitchFamily="34" charset="0"/>
                  <a:cs typeface="Segoe UI Semibold" panose="020B0702040204020203" pitchFamily="34" charset="0"/>
                </a:rPr>
                <a:t>Connectors to Data and APIs</a:t>
              </a:r>
            </a:p>
          </p:txBody>
        </p:sp>
        <p:cxnSp>
          <p:nvCxnSpPr>
            <p:cNvPr id="64" name="Elbow Connector 63"/>
            <p:cNvCxnSpPr>
              <a:stCxn id="5" idx="0"/>
              <a:endCxn id="38" idx="2"/>
            </p:cNvCxnSpPr>
            <p:nvPr/>
          </p:nvCxnSpPr>
          <p:spPr>
            <a:xfrm rot="16200000" flipV="1">
              <a:off x="6459052" y="1514929"/>
              <a:ext cx="520315" cy="1154008"/>
            </a:xfrm>
            <a:prstGeom prst="bentConnector3">
              <a:avLst>
                <a:gd name="adj1" fmla="val 50000"/>
              </a:avLst>
            </a:prstGeom>
            <a:ln w="57150">
              <a:solidFill>
                <a:srgbClr val="4F81BD"/>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6" idx="0"/>
              <a:endCxn id="38" idx="2"/>
            </p:cNvCxnSpPr>
            <p:nvPr/>
          </p:nvCxnSpPr>
          <p:spPr>
            <a:xfrm rot="5400000" flipH="1" flipV="1">
              <a:off x="5313100" y="1522985"/>
              <a:ext cx="520315" cy="1137896"/>
            </a:xfrm>
            <a:prstGeom prst="bentConnector3">
              <a:avLst>
                <a:gd name="adj1" fmla="val 50000"/>
              </a:avLst>
            </a:prstGeom>
            <a:ln w="57150">
              <a:solidFill>
                <a:srgbClr val="992165"/>
              </a:solidFill>
              <a:headEnd type="none"/>
              <a:tailEnd type="triangle"/>
            </a:ln>
          </p:spPr>
          <p:style>
            <a:lnRef idx="1">
              <a:schemeClr val="accent1"/>
            </a:lnRef>
            <a:fillRef idx="0">
              <a:schemeClr val="accent1"/>
            </a:fillRef>
            <a:effectRef idx="0">
              <a:schemeClr val="accent1"/>
            </a:effectRef>
            <a:fontRef idx="minor">
              <a:schemeClr val="tx1"/>
            </a:fontRef>
          </p:style>
        </p:cxnSp>
      </p:grpSp>
      <p:pic>
        <p:nvPicPr>
          <p:cNvPr id="29" name="Picture 2" descr="https://businessplatform.microsoft.com/images/pages/innovate-faster2.png"/>
          <p:cNvPicPr>
            <a:picLocks noChangeAspect="1" noChangeArrowheads="1"/>
          </p:cNvPicPr>
          <p:nvPr/>
        </p:nvPicPr>
        <p:blipFill rotWithShape="1">
          <a:blip r:embed="rId3">
            <a:extLst>
              <a:ext uri="{28A0092B-C50C-407E-A947-70E740481C1C}">
                <a14:useLocalDpi xmlns:a14="http://schemas.microsoft.com/office/drawing/2010/main" val="0"/>
              </a:ext>
            </a:extLst>
          </a:blip>
          <a:srcRect l="37335" t="36158" r="38991" b="54954"/>
          <a:stretch/>
        </p:blipFill>
        <p:spPr bwMode="auto">
          <a:xfrm>
            <a:off x="3167440" y="2366169"/>
            <a:ext cx="1733454" cy="816095"/>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https://businessplatform.microsoft.com/images/pages/innovate-faster2.png"/>
          <p:cNvPicPr>
            <a:picLocks noChangeAspect="1" noChangeArrowheads="1"/>
          </p:cNvPicPr>
          <p:nvPr/>
        </p:nvPicPr>
        <p:blipFill rotWithShape="1">
          <a:blip r:embed="rId3">
            <a:extLst>
              <a:ext uri="{28A0092B-C50C-407E-A947-70E740481C1C}">
                <a14:useLocalDpi xmlns:a14="http://schemas.microsoft.com/office/drawing/2010/main" val="0"/>
              </a:ext>
            </a:extLst>
          </a:blip>
          <a:srcRect l="76967" t="36158" r="7723" b="54130"/>
          <a:stretch/>
        </p:blipFill>
        <p:spPr bwMode="auto">
          <a:xfrm>
            <a:off x="7683436" y="2496343"/>
            <a:ext cx="1120976" cy="8917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1139533"/>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s://s-media-cache-ak0.pinimg.com/originals/d5/d9/22/d5d9222953a3fdff1b15c0984d0b2e68.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9" y="1"/>
            <a:ext cx="12188825" cy="6856413"/>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1588" y="5999921"/>
            <a:ext cx="12188825" cy="55990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r>
              <a:rPr lang="pt-PT" sz="2400" dirty="0">
                <a:solidFill>
                  <a:prstClr val="white"/>
                </a:solidFill>
                <a:latin typeface="Calibri" panose="020F0502020204030204"/>
                <a:hlinkClick r:id="rId3"/>
              </a:rPr>
              <a:t>https://web.powerapps.com/apps/7d801708-c8af-4297-884f-50c6031b7ef1</a:t>
            </a:r>
            <a:r>
              <a:rPr lang="pt-PT" sz="2400" dirty="0">
                <a:solidFill>
                  <a:prstClr val="white"/>
                </a:solidFill>
                <a:latin typeface="Calibri" panose="020F0502020204030204"/>
              </a:rPr>
              <a:t> </a:t>
            </a:r>
            <a:endParaRPr lang="en-US" sz="3200" dirty="0">
              <a:solidFill>
                <a:srgbClr val="CA9C71"/>
              </a:solidFill>
              <a:latin typeface="Calibri" panose="020F0502020204030204"/>
            </a:endParaRPr>
          </a:p>
        </p:txBody>
      </p:sp>
      <p:sp>
        <p:nvSpPr>
          <p:cNvPr id="4" name="Subtitle 1"/>
          <p:cNvSpPr txBox="1">
            <a:spLocks/>
          </p:cNvSpPr>
          <p:nvPr/>
        </p:nvSpPr>
        <p:spPr>
          <a:xfrm>
            <a:off x="1588" y="6052930"/>
            <a:ext cx="12188825" cy="461665"/>
          </a:xfrm>
          <a:prstGeom prst="rect">
            <a:avLst/>
          </a:prstGeom>
        </p:spPr>
        <p:txBody>
          <a:bodyPr/>
          <a:lstStyle>
            <a:lvl1pPr marL="228531" indent="-228531" algn="l" defTabSz="914126" rtl="0" eaLnBrk="1" latinLnBrk="0" hangingPunct="1">
              <a:lnSpc>
                <a:spcPct val="90000"/>
              </a:lnSpc>
              <a:spcBef>
                <a:spcPct val="30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ct val="300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ct val="300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ct val="300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ct val="300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ct val="300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ct val="300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ct val="300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ct val="30000"/>
              </a:spcBef>
              <a:buFont typeface="Arial" panose="020B0604020202020204" pitchFamily="34" charset="0"/>
              <a:buChar char="•"/>
              <a:defRPr sz="1799" kern="1200">
                <a:solidFill>
                  <a:schemeClr val="tx1"/>
                </a:solidFill>
                <a:latin typeface="+mn-lt"/>
                <a:ea typeface="+mn-ea"/>
                <a:cs typeface="+mn-cs"/>
              </a:defRPr>
            </a:lvl9pPr>
          </a:lstStyle>
          <a:p>
            <a:pPr marL="0" indent="0" algn="ctr">
              <a:buNone/>
            </a:pPr>
            <a:endParaRPr lang="pt-PT" dirty="0">
              <a:solidFill>
                <a:srgbClr val="CA9C71"/>
              </a:solidFill>
              <a:latin typeface="Calibri" panose="020F0502020204030204"/>
            </a:endParaRPr>
          </a:p>
        </p:txBody>
      </p:sp>
      <p:sp>
        <p:nvSpPr>
          <p:cNvPr id="7" name="Text Placeholder 8"/>
          <p:cNvSpPr txBox="1">
            <a:spLocks/>
          </p:cNvSpPr>
          <p:nvPr/>
        </p:nvSpPr>
        <p:spPr>
          <a:xfrm>
            <a:off x="765750" y="255257"/>
            <a:ext cx="6776326" cy="914096"/>
          </a:xfrm>
          <a:prstGeom prst="rect">
            <a:avLst/>
          </a:prstGeom>
        </p:spPr>
        <p:txBody>
          <a:bodyPr vert="horz" lIns="91440" tIns="45720" rIns="91440" bIns="45720" rtlCol="0" anchor="ctr"/>
          <a:lstStyle>
            <a:defPPr>
              <a:defRPr lang="en-US"/>
            </a:defPPr>
            <a:lvl1pPr marL="0" algn="ctr" defTabSz="914363" rtl="0" eaLnBrk="1" latinLnBrk="0" hangingPunct="1">
              <a:defRPr sz="1200" kern="1200">
                <a:solidFill>
                  <a:schemeClr val="tx1">
                    <a:tint val="75000"/>
                  </a:schemeClr>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6000" dirty="0" err="1">
                <a:solidFill>
                  <a:srgbClr val="E2D7C3"/>
                </a:solidFill>
                <a:effectLst>
                  <a:outerShdw blurRad="38100" dist="38100" dir="2700000" algn="tl">
                    <a:srgbClr val="000000">
                      <a:alpha val="43137"/>
                    </a:srgbClr>
                  </a:outerShdw>
                </a:effectLst>
                <a:latin typeface="Calibri" panose="020F0502020204030204"/>
              </a:rPr>
              <a:t>PowerApps</a:t>
            </a:r>
            <a:r>
              <a:rPr lang="en-US" sz="6000" dirty="0">
                <a:solidFill>
                  <a:srgbClr val="E2D7C3"/>
                </a:solidFill>
                <a:effectLst>
                  <a:outerShdw blurRad="38100" dist="38100" dir="2700000" algn="tl">
                    <a:srgbClr val="000000">
                      <a:alpha val="43137"/>
                    </a:srgbClr>
                  </a:outerShdw>
                </a:effectLst>
                <a:latin typeface="Calibri" panose="020F0502020204030204"/>
              </a:rPr>
              <a:t> in action</a:t>
            </a:r>
            <a:endParaRPr lang="en-GB" sz="6000" dirty="0">
              <a:solidFill>
                <a:srgbClr val="E2D7C3"/>
              </a:solidFill>
              <a:effectLst>
                <a:outerShdw blurRad="38100" dist="38100" dir="2700000" algn="tl">
                  <a:srgbClr val="000000">
                    <a:alpha val="43137"/>
                  </a:srgbClr>
                </a:outerShdw>
              </a:effectLst>
              <a:latin typeface="Calibri" panose="020F0502020204030204"/>
            </a:endParaRPr>
          </a:p>
        </p:txBody>
      </p:sp>
    </p:spTree>
    <p:extLst>
      <p:ext uri="{BB962C8B-B14F-4D97-AF65-F5344CB8AC3E}">
        <p14:creationId xmlns:p14="http://schemas.microsoft.com/office/powerpoint/2010/main" val="2678605976"/>
      </p:ext>
    </p:extLst>
  </p:cSld>
  <p:clrMapOvr>
    <a:masterClrMapping/>
  </p:clrMapOvr>
  <p:transition spd="slow">
    <p:cove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7200" dirty="0"/>
              <a:t>Introduction to </a:t>
            </a:r>
            <a:r>
              <a:rPr lang="en-US" sz="7200" dirty="0" err="1"/>
              <a:t>PowerApps</a:t>
            </a:r>
            <a:r>
              <a:rPr lang="en-US" sz="7200" dirty="0"/>
              <a:t> </a:t>
            </a:r>
            <a:br>
              <a:rPr lang="en-US" sz="7200" dirty="0"/>
            </a:br>
            <a:r>
              <a:rPr lang="en-US" sz="3200" dirty="0"/>
              <a:t>Custom apps for business needs</a:t>
            </a:r>
            <a:br>
              <a:rPr lang="en-US" sz="3200" dirty="0"/>
            </a:br>
            <a:r>
              <a:rPr lang="en-US" sz="3200" dirty="0"/>
              <a:t>No-code apps for tablet and mobile</a:t>
            </a:r>
            <a:endParaRPr lang="en-US" sz="7200" dirty="0"/>
          </a:p>
        </p:txBody>
      </p:sp>
      <p:pic>
        <p:nvPicPr>
          <p:cNvPr id="3" name="Picture 6" descr="https://powerapps.microsoft.com/images/page/index/mobile-apps.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40257" y="3265627"/>
            <a:ext cx="9267794" cy="31881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8920718"/>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l="5735" t="14647" r="575" b="6089"/>
          <a:stretch/>
        </p:blipFill>
        <p:spPr>
          <a:xfrm flipH="1">
            <a:off x="1588" y="-6400"/>
            <a:ext cx="12188824" cy="6879581"/>
          </a:xfrm>
          <a:prstGeom prst="rect">
            <a:avLst/>
          </a:prstGeom>
        </p:spPr>
      </p:pic>
      <p:sp>
        <p:nvSpPr>
          <p:cNvPr id="6" name="Rectangle 5"/>
          <p:cNvSpPr/>
          <p:nvPr/>
        </p:nvSpPr>
        <p:spPr>
          <a:xfrm>
            <a:off x="1589" y="1379"/>
            <a:ext cx="12188824" cy="6855242"/>
          </a:xfrm>
          <a:prstGeom prst="rect">
            <a:avLst/>
          </a:prstGeom>
          <a:gradFill>
            <a:gsLst>
              <a:gs pos="80000">
                <a:schemeClr val="bg2">
                  <a:alpha val="36000"/>
                </a:schemeClr>
              </a:gs>
              <a:gs pos="29000">
                <a:schemeClr val="bg2">
                  <a:alpha val="77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ctr" anchorCtr="0" forceAA="0" compatLnSpc="1">
            <a:prstTxWarp prst="textNoShape">
              <a:avLst/>
            </a:prstTxWarp>
            <a:noAutofit/>
          </a:bodyPr>
          <a:lstStyle/>
          <a:p>
            <a:pPr algn="ctr" defTabSz="914040">
              <a:defRPr/>
            </a:pPr>
            <a:endParaRPr lang="en-US" sz="1999" kern="0" dirty="0">
              <a:solidFill>
                <a:prstClr val="white"/>
              </a:solidFill>
              <a:latin typeface="Segoe UI"/>
            </a:endParaRPr>
          </a:p>
        </p:txBody>
      </p:sp>
      <p:grpSp>
        <p:nvGrpSpPr>
          <p:cNvPr id="7" name="Group 6"/>
          <p:cNvGrpSpPr/>
          <p:nvPr/>
        </p:nvGrpSpPr>
        <p:grpSpPr>
          <a:xfrm>
            <a:off x="2852227" y="2428565"/>
            <a:ext cx="6487549" cy="1751136"/>
            <a:chOff x="1290637" y="2603500"/>
            <a:chExt cx="6619362" cy="1786715"/>
          </a:xfrm>
        </p:grpSpPr>
        <p:sp>
          <p:nvSpPr>
            <p:cNvPr id="9" name="Rectangle 8"/>
            <p:cNvSpPr/>
            <p:nvPr/>
          </p:nvSpPr>
          <p:spPr>
            <a:xfrm>
              <a:off x="1290637" y="2603500"/>
              <a:ext cx="5414963" cy="1663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4040">
                <a:defRPr/>
              </a:pPr>
              <a:endParaRPr lang="en-US" sz="1960" kern="0" dirty="0">
                <a:solidFill>
                  <a:prstClr val="white"/>
                </a:solidFill>
                <a:latin typeface="Segoe UI"/>
              </a:endParaRPr>
            </a:p>
          </p:txBody>
        </p:sp>
        <p:sp>
          <p:nvSpPr>
            <p:cNvPr id="10" name="TextBox 9"/>
            <p:cNvSpPr txBox="1"/>
            <p:nvPr/>
          </p:nvSpPr>
          <p:spPr>
            <a:xfrm>
              <a:off x="1630399" y="2728222"/>
              <a:ext cx="6279600" cy="1661993"/>
            </a:xfrm>
            <a:prstGeom prst="rect">
              <a:avLst/>
            </a:prstGeom>
          </p:spPr>
          <p:txBody>
            <a:bodyPr vert="horz" wrap="square" lIns="89619" tIns="89619" rIns="89619" bIns="89619" rtlCol="0" anchor="t">
              <a:spAutoFit/>
            </a:bodyPr>
            <a:lstStyle/>
            <a:p>
              <a:pPr defTabSz="914040">
                <a:defRPr/>
              </a:pPr>
              <a:r>
                <a:rPr lang="en-US" sz="4704" kern="0" dirty="0">
                  <a:solidFill>
                    <a:prstClr val="white"/>
                  </a:solidFill>
                  <a:latin typeface="Segoe UI Light"/>
                  <a:cs typeface="Segoe UI" panose="020B0502040204020203" pitchFamily="34" charset="0"/>
                </a:rPr>
                <a:t>Our consumer apps have rapidly evolved…</a:t>
              </a:r>
            </a:p>
          </p:txBody>
        </p:sp>
      </p:grpSp>
    </p:spTree>
    <p:extLst>
      <p:ext uri="{BB962C8B-B14F-4D97-AF65-F5344CB8AC3E}">
        <p14:creationId xmlns:p14="http://schemas.microsoft.com/office/powerpoint/2010/main" val="144551612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VID_Product_Brand_template_16-9_WHITE_Cyan-accent">
  <a:themeElements>
    <a:clrScheme name="Custom 1">
      <a:dk1>
        <a:srgbClr val="505050"/>
      </a:dk1>
      <a:lt1>
        <a:srgbClr val="FFFFFF"/>
      </a:lt1>
      <a:dk2>
        <a:srgbClr val="0072C6"/>
      </a:dk2>
      <a:lt2>
        <a:srgbClr val="D2D2D2"/>
      </a:lt2>
      <a:accent1>
        <a:srgbClr val="0072C6"/>
      </a:accent1>
      <a:accent2>
        <a:srgbClr val="68217A"/>
      </a:accent2>
      <a:accent3>
        <a:srgbClr val="008272"/>
      </a:accent3>
      <a:accent4>
        <a:srgbClr val="9B9B9B"/>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1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30055_Office Template 2012 - 16x9 - White Background">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365 Template Orange.potx" id="{A418BC41-9312-4E81-974D-3B62BBA9F7CA}" vid="{6D227263-DACE-442F-8D98-551E7A302C92}"/>
    </a:ext>
  </a:extLst>
</a:theme>
</file>

<file path=ppt/theme/theme6.xml><?xml version="1.0" encoding="utf-8"?>
<a:theme xmlns:a="http://schemas.openxmlformats.org/drawingml/2006/main" name="5-30721_Build_2016_Template_Dark">
  <a:themeElements>
    <a:clrScheme name="Build 2016 Dark">
      <a:dk1>
        <a:srgbClr val="505050"/>
      </a:dk1>
      <a:lt1>
        <a:srgbClr val="FFFFFF"/>
      </a:lt1>
      <a:dk2>
        <a:srgbClr val="0078D7"/>
      </a:dk2>
      <a:lt2>
        <a:srgbClr val="F8F8F8"/>
      </a:lt2>
      <a:accent1>
        <a:srgbClr val="00BCF2"/>
      </a:accent1>
      <a:accent2>
        <a:srgbClr val="0078D7"/>
      </a:accent2>
      <a:accent3>
        <a:srgbClr val="002050"/>
      </a:accent3>
      <a:accent4>
        <a:srgbClr val="D2D2D2"/>
      </a:accent4>
      <a:accent5>
        <a:srgbClr val="737373"/>
      </a:accent5>
      <a:accent6>
        <a:srgbClr val="323232"/>
      </a:accent6>
      <a:hlink>
        <a:srgbClr val="5DDCFF"/>
      </a:hlink>
      <a:folHlink>
        <a:srgbClr val="5DDCFF"/>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CFM2016" id="{8D0535DF-EFC5-4FA0-AAFC-F027CB2ED0F2}" vid="{C972A7A6-6A8A-4864-B9BA-36DEA67CA6EC}"/>
    </a:ext>
  </a:extLst>
</a:theme>
</file>

<file path=ppt/theme/theme7.xml><?xml version="1.0" encoding="utf-8"?>
<a:theme xmlns:a="http://schemas.openxmlformats.org/drawingml/2006/main" name="7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BuildCFM2016" id="{8D0535DF-EFC5-4FA0-AAFC-F027CB2ED0F2}" vid="{0E81CB2D-8013-45BE-8DF7-0A4DD6E8005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1</TotalTime>
  <Words>4117</Words>
  <Application>Microsoft Office PowerPoint</Application>
  <PresentationFormat>Widescreen</PresentationFormat>
  <Paragraphs>377</Paragraphs>
  <Slides>44</Slides>
  <Notes>32</Notes>
  <HiddenSlides>0</HiddenSlides>
  <MMClips>0</MMClips>
  <ScaleCrop>false</ScaleCrop>
  <HeadingPairs>
    <vt:vector size="8" baseType="variant">
      <vt:variant>
        <vt:lpstr>Fonts Used</vt:lpstr>
      </vt:variant>
      <vt:variant>
        <vt:i4>15</vt:i4>
      </vt:variant>
      <vt:variant>
        <vt:lpstr>Theme</vt:lpstr>
      </vt:variant>
      <vt:variant>
        <vt:i4>7</vt:i4>
      </vt:variant>
      <vt:variant>
        <vt:lpstr>Embedded OLE Servers</vt:lpstr>
      </vt:variant>
      <vt:variant>
        <vt:i4>1</vt:i4>
      </vt:variant>
      <vt:variant>
        <vt:lpstr>Slide Titles</vt:lpstr>
      </vt:variant>
      <vt:variant>
        <vt:i4>44</vt:i4>
      </vt:variant>
    </vt:vector>
  </HeadingPairs>
  <TitlesOfParts>
    <vt:vector size="67" baseType="lpstr">
      <vt:lpstr>Arial</vt:lpstr>
      <vt:lpstr>Calibri</vt:lpstr>
      <vt:lpstr>Calibri Light</vt:lpstr>
      <vt:lpstr>Consolas</vt:lpstr>
      <vt:lpstr>Courier New</vt:lpstr>
      <vt:lpstr>Gill Sans MT Condensed</vt:lpstr>
      <vt:lpstr>Open Sans Light</vt:lpstr>
      <vt:lpstr>Questrial</vt:lpstr>
      <vt:lpstr>Segoe UI</vt:lpstr>
      <vt:lpstr>Segoe UI Condensed</vt:lpstr>
      <vt:lpstr>Segoe UI Light</vt:lpstr>
      <vt:lpstr>Segoe UI Semibold</vt:lpstr>
      <vt:lpstr>Segoe UI Semilight</vt:lpstr>
      <vt:lpstr>Times New Roman</vt:lpstr>
      <vt:lpstr>Wingdings</vt:lpstr>
      <vt:lpstr>Office Theme</vt:lpstr>
      <vt:lpstr>MSVID_Product_Brand_template_16-9_WHITE_Cyan-accent</vt:lpstr>
      <vt:lpstr>1_MSVID_Product_Brand_template_16-9_WHITE_Cyan-accent</vt:lpstr>
      <vt:lpstr>1_Office Theme</vt:lpstr>
      <vt:lpstr>5-30055_Office Template 2012 - 16x9 - White Background</vt:lpstr>
      <vt:lpstr>5-30721_Build_2016_Template_Dark</vt:lpstr>
      <vt:lpstr>7_FY15 Enterprise identity theme</vt:lpstr>
      <vt:lpstr>think-cell Slide</vt:lpstr>
      <vt:lpstr>TUGA IT 2017</vt:lpstr>
      <vt:lpstr>PowerPoint Presentation</vt:lpstr>
      <vt:lpstr>PowerPoint Presentation</vt:lpstr>
      <vt:lpstr>How can PowerApps and Microsoft Flow allows your power users to quickly build Enterprise Mobile Apps</vt:lpstr>
      <vt:lpstr>PowerPoint Presentation</vt:lpstr>
      <vt:lpstr>PowerPoint Presentation</vt:lpstr>
      <vt:lpstr>PowerPoint Presentation</vt:lpstr>
      <vt:lpstr>Introduction to PowerApps  Custom apps for business needs No-code apps for tablet and mobi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roduction to Flow  Automated workflows between apps and services Cross-platform data exchang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UGA IT 2016</dc:title>
  <dc:creator>André Vala</dc:creator>
  <cp:lastModifiedBy>Sandro Pereira</cp:lastModifiedBy>
  <cp:revision>32</cp:revision>
  <dcterms:created xsi:type="dcterms:W3CDTF">2016-05-15T23:39:35Z</dcterms:created>
  <dcterms:modified xsi:type="dcterms:W3CDTF">2017-05-18T09:13:36Z</dcterms:modified>
</cp:coreProperties>
</file>